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7" r:id="rId1"/>
    <p:sldMasterId id="2147483671" r:id="rId2"/>
  </p:sldMasterIdLst>
  <p:notesMasterIdLst>
    <p:notesMasterId r:id="rId4"/>
  </p:notesMasterIdLst>
  <p:handoutMasterIdLst>
    <p:handoutMasterId r:id="rId5"/>
  </p:handoutMasterIdLst>
  <p:sldIdLst>
    <p:sldId id="361" r:id="rId3"/>
  </p:sldIdLst>
  <p:sldSz cx="8961438" cy="6721475"/>
  <p:notesSz cx="7315200" cy="9601200"/>
  <p:custDataLst>
    <p:tags r:id="rId6"/>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17">
          <p15:clr>
            <a:srgbClr val="A4A3A4"/>
          </p15:clr>
        </p15:guide>
        <p15:guide id="2" pos="2822">
          <p15:clr>
            <a:srgbClr val="A4A3A4"/>
          </p15:clr>
        </p15:guide>
      </p15:sldGuideLst>
    </p:ext>
    <p:ext uri="{2D200454-40CA-4A62-9FC3-DE9A4176ACB9}">
      <p15:notesGuideLst xmlns:p15="http://schemas.microsoft.com/office/powerpoint/2012/main">
        <p15:guide id="1" orient="horz" pos="4524" userDrawn="1">
          <p15:clr>
            <a:srgbClr val="A4A3A4"/>
          </p15:clr>
        </p15:guide>
        <p15:guide id="2" pos="3152" userDrawn="1">
          <p15:clr>
            <a:srgbClr val="A4A3A4"/>
          </p15:clr>
        </p15:guide>
        <p15:guide id="3" orient="horz" pos="3024">
          <p15:clr>
            <a:srgbClr val="A4A3A4"/>
          </p15:clr>
        </p15:guide>
        <p15:guide id="4"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prnPr/>
  <p:clrMru>
    <a:srgbClr val="0563BB"/>
    <a:srgbClr val="0354B0"/>
    <a:srgbClr val="0049A6"/>
    <a:srgbClr val="0457B5"/>
    <a:srgbClr val="10A2ED"/>
    <a:srgbClr val="087CE3"/>
    <a:srgbClr val="055CB9"/>
    <a:srgbClr val="035CB8"/>
    <a:srgbClr val="066BC9"/>
    <a:srgbClr val="E0E0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5059" autoAdjust="0"/>
    <p:restoredTop sz="94426" autoAdjust="0"/>
  </p:normalViewPr>
  <p:slideViewPr>
    <p:cSldViewPr snapToGrid="0" snapToObjects="1">
      <p:cViewPr varScale="1">
        <p:scale>
          <a:sx n="69" d="100"/>
          <a:sy n="69" d="100"/>
        </p:scale>
        <p:origin x="1632" y="-44"/>
      </p:cViewPr>
      <p:guideLst>
        <p:guide orient="horz" pos="2117"/>
        <p:guide pos="2822"/>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85" d="100"/>
          <a:sy n="85" d="100"/>
        </p:scale>
        <p:origin x="2862" y="102"/>
      </p:cViewPr>
      <p:guideLst>
        <p:guide orient="horz" pos="4524"/>
        <p:guide pos="3152"/>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commentAuthors" Target="commentAuthor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11" Type="http://schemas.openxmlformats.org/officeDocument/2006/relationships/tableStyles" Target="tableStyles.xml"/><Relationship Id="rId5" Type="http://schemas.openxmlformats.org/officeDocument/2006/relationships/handoutMaster" Target="handoutMasters/handoutMaster1.xml"/><Relationship Id="rId10" Type="http://schemas.openxmlformats.org/officeDocument/2006/relationships/theme" Target="theme/theme1.xml"/><Relationship Id="rId4" Type="http://schemas.openxmlformats.org/officeDocument/2006/relationships/notesMaster" Target="notesMasters/notes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846138" y="601663"/>
            <a:ext cx="5630862" cy="4224337"/>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92379" y="5159107"/>
            <a:ext cx="6233763"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127" name="Rectangle 7"/>
          <p:cNvSpPr>
            <a:spLocks noGrp="1" noChangeArrowheads="1"/>
          </p:cNvSpPr>
          <p:nvPr>
            <p:ph type="sldNum" sz="quarter" idx="5"/>
          </p:nvPr>
        </p:nvSpPr>
        <p:spPr bwMode="auto">
          <a:xfrm>
            <a:off x="6528233" y="9227281"/>
            <a:ext cx="58032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7108493" y="103073"/>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hf hdr="0" ftr="0" dt="0"/>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doc id"/>
          <p:cNvSpPr>
            <a:spLocks noGrp="1" noChangeArrowheads="1"/>
          </p:cNvSpPr>
          <p:nvPr>
            <p:ph type="ftr" sz="quarter" idx="4"/>
          </p:nvPr>
        </p:nvSpPr>
        <p:spPr>
          <a:noFill/>
        </p:spPr>
        <p:txBody>
          <a:bodyPr/>
          <a:lstStyle>
            <a:lvl1pPr defTabSz="895350">
              <a:buClr>
                <a:schemeClr val="tx2"/>
              </a:buClr>
              <a:defRPr sz="1600">
                <a:solidFill>
                  <a:schemeClr val="tx1"/>
                </a:solidFill>
                <a:latin typeface="Arial" panose="020B0604020202020204" pitchFamily="34" charset="0"/>
              </a:defRPr>
            </a:lvl1pPr>
            <a:lvl2pPr marL="742950" indent="-741363"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2pPr>
            <a:lvl3pPr marL="1143000" indent="-1023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1600200" indent="-1298575" defTabSz="895350">
              <a:buClr>
                <a:schemeClr val="tx2"/>
              </a:buClr>
              <a:buFont typeface="Arial" panose="020B0604020202020204" pitchFamily="34" charset="0"/>
              <a:buChar char="▫"/>
              <a:defRPr sz="1600">
                <a:solidFill>
                  <a:schemeClr val="tx1"/>
                </a:solidFill>
                <a:latin typeface="Arial" panose="020B0604020202020204" pitchFamily="34" charset="0"/>
              </a:defRPr>
            </a:lvl4pPr>
            <a:lvl5pPr marL="2057400" indent="-16287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2514600" indent="-16287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2971800" indent="-16287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3429000" indent="-16287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3886200" indent="-16287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a:buClrTx/>
            </a:pPr>
            <a:r>
              <a:rPr lang="en-US" altLang="en-US" dirty="0">
                <a:cs typeface="Arial" panose="020B0604020202020204" pitchFamily="34" charset="0"/>
              </a:rPr>
              <a:t>MVA-ZZV-160-20100615-s</a:t>
            </a:r>
          </a:p>
        </p:txBody>
      </p:sp>
      <p:sp>
        <p:nvSpPr>
          <p:cNvPr id="6147" name="Rectangle 5"/>
          <p:cNvSpPr>
            <a:spLocks noGrp="1" noChangeArrowheads="1"/>
          </p:cNvSpPr>
          <p:nvPr>
            <p:ph type="sldNum" sz="quarter" idx="5"/>
          </p:nvPr>
        </p:nvSpPr>
        <p:spPr>
          <a:noFill/>
        </p:spPr>
        <p:txBody>
          <a:bodyPr/>
          <a:lstStyle>
            <a:lvl1pPr defTabSz="919163">
              <a:buClr>
                <a:schemeClr val="tx2"/>
              </a:buClr>
              <a:defRPr sz="1600">
                <a:solidFill>
                  <a:schemeClr val="tx1"/>
                </a:solidFill>
                <a:latin typeface="Arial" panose="020B0604020202020204" pitchFamily="34" charset="0"/>
              </a:defRPr>
            </a:lvl1pPr>
            <a:lvl2pPr marL="742950" indent="-741363" defTabSz="919163">
              <a:buClr>
                <a:schemeClr val="tx2"/>
              </a:buClr>
              <a:buSzPct val="120000"/>
              <a:buFont typeface="Arial" panose="020B0604020202020204" pitchFamily="34" charset="0"/>
              <a:buChar char="▪"/>
              <a:defRPr sz="1600">
                <a:solidFill>
                  <a:schemeClr val="tx1"/>
                </a:solidFill>
                <a:latin typeface="Arial" panose="020B0604020202020204" pitchFamily="34" charset="0"/>
              </a:defRPr>
            </a:lvl2pPr>
            <a:lvl3pPr marL="1143000" indent="-1023938" defTabSz="919163">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1600200" indent="-1298575" defTabSz="919163">
              <a:buClr>
                <a:schemeClr val="tx2"/>
              </a:buClr>
              <a:buFont typeface="Arial" panose="020B0604020202020204" pitchFamily="34" charset="0"/>
              <a:buChar char="▫"/>
              <a:defRPr sz="1600">
                <a:solidFill>
                  <a:schemeClr val="tx1"/>
                </a:solidFill>
                <a:latin typeface="Arial" panose="020B0604020202020204" pitchFamily="34" charset="0"/>
              </a:defRPr>
            </a:lvl4pPr>
            <a:lvl5pPr marL="2057400" indent="-1628775" defTabSz="919163">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2514600" indent="-1628775" defTabSz="919163"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2971800" indent="-1628775" defTabSz="919163"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3429000" indent="-1628775" defTabSz="919163"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3886200" indent="-1628775" defTabSz="919163"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a:buClrTx/>
            </a:pPr>
            <a:fld id="{3F1D9A0B-C890-47D9-A516-7C0EB1DB9BFA}" type="slidenum">
              <a:rPr lang="en-US" altLang="en-US" sz="1200" smtClean="0"/>
              <a:pPr>
                <a:buClrTx/>
              </a:pPr>
              <a:t>1</a:t>
            </a:fld>
            <a:endParaRPr lang="en-US" altLang="en-US" sz="1200" dirty="0"/>
          </a:p>
        </p:txBody>
      </p:sp>
      <p:sp>
        <p:nvSpPr>
          <p:cNvPr id="6148" name="Rectangle 2"/>
          <p:cNvSpPr>
            <a:spLocks noGrp="1" noRot="1" noChangeAspect="1" noChangeArrowheads="1" noTextEdit="1"/>
          </p:cNvSpPr>
          <p:nvPr>
            <p:ph type="sldImg"/>
          </p:nvPr>
        </p:nvSpPr>
        <p:spPr>
          <a:ln/>
        </p:spPr>
      </p:sp>
      <p:sp>
        <p:nvSpPr>
          <p:cNvPr id="6149" name="Rectangle 3"/>
          <p:cNvSpPr>
            <a:spLocks noGrp="1" noChangeArrowheads="1"/>
          </p:cNvSpPr>
          <p:nvPr>
            <p:ph type="body" idx="1"/>
          </p:nvPr>
        </p:nvSpPr>
        <p:spPr>
          <a:xfrm>
            <a:off x="592138" y="5159375"/>
            <a:ext cx="6234112" cy="1225550"/>
          </a:xfrm>
          <a:noFill/>
        </p:spPr>
        <p:txBody>
          <a:bodyPr/>
          <a:lstStyle/>
          <a:p>
            <a:pPr eaLnBrk="1" hangingPunct="1"/>
            <a:endParaRPr lang="de-DE" altLang="en-US" dirty="0">
              <a:latin typeface="Arial" panose="020B0604020202020204" pitchFamily="34" charset="0"/>
            </a:endParaRPr>
          </a:p>
        </p:txBody>
      </p:sp>
      <p:sp>
        <p:nvSpPr>
          <p:cNvPr id="6150" name="McK Separator"/>
          <p:cNvSpPr>
            <a:spLocks noChangeShapeType="1"/>
          </p:cNvSpPr>
          <p:nvPr/>
        </p:nvSpPr>
        <p:spPr bwMode="auto">
          <a:xfrm>
            <a:off x="603250" y="1466850"/>
            <a:ext cx="5969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Tree>
    <p:extLst>
      <p:ext uri="{BB962C8B-B14F-4D97-AF65-F5344CB8AC3E}">
        <p14:creationId xmlns:p14="http://schemas.microsoft.com/office/powerpoint/2010/main" val="4591971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3.jp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image" Target="../media/image5.jpg"/></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 name="background"/>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2" name="TitleRectangle"/>
          <p:cNvSpPr>
            <a:spLocks/>
          </p:cNvSpPr>
          <p:nvPr userDrawn="1"/>
        </p:nvSpPr>
        <p:spPr bwMode="white">
          <a:xfrm>
            <a:off x="2085976" y="1"/>
            <a:ext cx="6877050" cy="3967880"/>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rgbClr val="000000"/>
              </a:solidFill>
              <a:latin typeface="+mn-lt"/>
            </a:endParaRPr>
          </a:p>
        </p:txBody>
      </p:sp>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04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p:cNvSpPr txBox="1">
            <a:spLocks noChangeArrowheads="1"/>
          </p:cNvSpPr>
          <p:nvPr userDrawn="1"/>
        </p:nvSpPr>
        <p:spPr bwMode="black">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p:cNvSpPr txBox="1">
            <a:spLocks noChangeArrowheads="1"/>
          </p:cNvSpPr>
          <p:nvPr userDrawn="1"/>
        </p:nvSpPr>
        <p:spPr bwMode="black">
          <a:xfrm>
            <a:off x="5992719" y="6410648"/>
            <a:ext cx="296871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5/15/2020 8:58 PM India Standard Time</a:t>
            </a:r>
            <a:endParaRPr lang="en-US" sz="800" baseline="0" dirty="0">
              <a:solidFill>
                <a:srgbClr val="FFFFFF"/>
              </a:solidFill>
              <a:latin typeface="+mn-lt"/>
            </a:endParaRPr>
          </a:p>
        </p:txBody>
      </p:sp>
      <p:sp>
        <p:nvSpPr>
          <p:cNvPr id="7" name="Printed"/>
          <p:cNvSpPr txBox="1">
            <a:spLocks noChangeArrowheads="1"/>
          </p:cNvSpPr>
          <p:nvPr userDrawn="1"/>
        </p:nvSpPr>
        <p:spPr bwMode="black">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FFFFFF"/>
                </a:solidFill>
                <a:latin typeface="+mn-lt"/>
              </a:rPr>
              <a:t>Printed</a:t>
            </a:r>
          </a:p>
        </p:txBody>
      </p:sp>
      <p:sp>
        <p:nvSpPr>
          <p:cNvPr id="13314" name="Title"/>
          <p:cNvSpPr>
            <a:spLocks noGrp="1" noChangeArrowheads="1"/>
          </p:cNvSpPr>
          <p:nvPr userDrawn="1">
            <p:ph type="ctrTitle"/>
          </p:nvPr>
        </p:nvSpPr>
        <p:spPr>
          <a:xfrm>
            <a:off x="2268266" y="1434419"/>
            <a:ext cx="6231663" cy="492443"/>
          </a:xfrm>
          <a:prstGeom prst="rect">
            <a:avLst/>
          </a:prstGeom>
        </p:spPr>
        <p:txBody>
          <a:bodyPr>
            <a:sp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a:xfrm>
            <a:off x="2268266" y="3119079"/>
            <a:ext cx="6231663" cy="215444"/>
          </a:xfrm>
          <a:prstGeom prst="rect">
            <a:avLst/>
          </a:prstGeom>
        </p:spPr>
        <p:txBody>
          <a:bodyPr wrap="square">
            <a:spAutoFit/>
          </a:bodyPr>
          <a:lstStyle>
            <a:lvl1pPr>
              <a:defRPr sz="1400" cap="all"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userDrawn="1"/>
        </p:nvSpPr>
        <p:spPr bwMode="gray">
          <a:xfrm>
            <a:off x="2268266" y="3582218"/>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accent6"/>
                </a:solidFill>
                <a:latin typeface="+mn-lt"/>
              </a:rPr>
              <a:t>Document type | Date</a:t>
            </a:r>
          </a:p>
        </p:txBody>
      </p:sp>
      <p:sp>
        <p:nvSpPr>
          <p:cNvPr id="5" name="doc id" hidden="1"/>
          <p:cNvSpPr txBox="1">
            <a:spLocks noChangeArrowheads="1"/>
          </p:cNvSpPr>
          <p:nvPr userDrawn="1"/>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sp>
        <p:nvSpPr>
          <p:cNvPr id="28" name="LogoImage"/>
          <p:cNvSpPr>
            <a:spLocks noEditPoints="1"/>
          </p:cNvSpPr>
          <p:nvPr userDrawn="1"/>
        </p:nvSpPr>
        <p:spPr bwMode="auto">
          <a:xfrm>
            <a:off x="2268266" y="150653"/>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6" name="Disclaimer-English (United States)" hidden="1"/>
          <p:cNvSpPr>
            <a:spLocks noChangeArrowheads="1"/>
          </p:cNvSpPr>
          <p:nvPr userDrawn="1"/>
        </p:nvSpPr>
        <p:spPr bwMode="black">
          <a:xfrm>
            <a:off x="2268266" y="6410649"/>
            <a:ext cx="354445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4863" eaLnBrk="0" hangingPunct="0"/>
            <a:r>
              <a:rPr lang="en-US" sz="800" baseline="0" dirty="0">
                <a:solidFill>
                  <a:srgbClr val="FFFFFF"/>
                </a:solidFill>
                <a:latin typeface="+mn-lt"/>
              </a:rPr>
              <a:t>CONFIDENTIAL AND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16058223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73318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071"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userDrawn="1"/>
        </p:nvSpPr>
        <p:spPr bwMode="auto">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userDrawn="1">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a:spLocks noChangeArrowheads="1"/>
          </p:cNvSpPr>
          <p:nvPr userDrawn="1"/>
        </p:nvSpPr>
        <p:spPr bwMode="auto">
          <a:xfrm>
            <a:off x="8081963" y="50801"/>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dirty="0">
              <a:solidFill>
                <a:srgbClr val="808080"/>
              </a:solidFill>
              <a:latin typeface="+mn-lt"/>
              <a:ea typeface="+mn-ea"/>
            </a:endParaRPr>
          </a:p>
        </p:txBody>
      </p:sp>
    </p:spTree>
    <p:extLst>
      <p:ext uri="{BB962C8B-B14F-4D97-AF65-F5344CB8AC3E}">
        <p14:creationId xmlns:p14="http://schemas.microsoft.com/office/powerpoint/2010/main" val="1155161184"/>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userDrawn="1"/>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16" name="SlideLogoText"/>
          <p:cNvSpPr>
            <a:spLocks noChangeArrowheads="1"/>
          </p:cNvSpPr>
          <p:nvPr userDrawn="1">
            <p:custDataLst>
              <p:tags r:id="rId1"/>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a:spLocks noChangeArrowheads="1"/>
          </p:cNvSpPr>
          <p:nvPr userDrawn="1"/>
        </p:nvSpPr>
        <p:spPr bwMode="auto">
          <a:xfrm>
            <a:off x="8081963" y="50801"/>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dirty="0">
              <a:solidFill>
                <a:srgbClr val="808080"/>
              </a:solidFill>
              <a:latin typeface="+mn-lt"/>
              <a:ea typeface="+mn-ea"/>
            </a:endParaRPr>
          </a:p>
        </p:txBody>
      </p:sp>
    </p:spTree>
    <p:extLst>
      <p:ext uri="{BB962C8B-B14F-4D97-AF65-F5344CB8AC3E}">
        <p14:creationId xmlns:p14="http://schemas.microsoft.com/office/powerpoint/2010/main" val="900288961"/>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background"/>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198"/>
            <a:ext cx="8961438" cy="6721079"/>
          </a:xfrm>
          <a:prstGeom prst="rect">
            <a:avLst/>
          </a:prstGeom>
        </p:spPr>
      </p:pic>
      <p:sp>
        <p:nvSpPr>
          <p:cNvPr id="30" name="TitleRectangle"/>
          <p:cNvSpPr>
            <a:spLocks/>
          </p:cNvSpPr>
          <p:nvPr userDrawn="1"/>
        </p:nvSpPr>
        <p:spPr bwMode="white">
          <a:xfrm>
            <a:off x="2085976" y="3047"/>
            <a:ext cx="6877050" cy="3980600"/>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rgbClr val="000000"/>
              </a:solidFill>
              <a:latin typeface="+mn-lt"/>
            </a:endParaRPr>
          </a:p>
        </p:txBody>
      </p:sp>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0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oc id" hidden="1"/>
          <p:cNvSpPr txBox="1">
            <a:spLocks noChangeArrowheads="1"/>
          </p:cNvSpPr>
          <p:nvPr userDrawn="1"/>
        </p:nvSpPr>
        <p:spPr bwMode="auto">
          <a:xfrm>
            <a:off x="8441357" y="36514"/>
            <a:ext cx="297832" cy="1078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C5C5C5"/>
              </a:solidFill>
              <a:latin typeface="+mn-lt"/>
            </a:endParaRPr>
          </a:p>
        </p:txBody>
      </p:sp>
      <p:sp>
        <p:nvSpPr>
          <p:cNvPr id="4" name="Working Draft Text"/>
          <p:cNvSpPr txBox="1">
            <a:spLocks noChangeArrowheads="1"/>
          </p:cNvSpPr>
          <p:nvPr userDrawn="1"/>
        </p:nvSpPr>
        <p:spPr bwMode="gray">
          <a:xfrm>
            <a:off x="5992719" y="6287538"/>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808080"/>
                </a:solidFill>
                <a:latin typeface="+mn-lt"/>
              </a:rPr>
              <a:t>WORKING DRAFT</a:t>
            </a:r>
          </a:p>
        </p:txBody>
      </p:sp>
      <p:sp>
        <p:nvSpPr>
          <p:cNvPr id="6" name="Working Draft"/>
          <p:cNvSpPr txBox="1">
            <a:spLocks noChangeArrowheads="1"/>
          </p:cNvSpPr>
          <p:nvPr userDrawn="1"/>
        </p:nvSpPr>
        <p:spPr bwMode="gray">
          <a:xfrm>
            <a:off x="5992718" y="6410648"/>
            <a:ext cx="297030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808080"/>
                </a:solidFill>
                <a:latin typeface="+mn-lt"/>
              </a:rPr>
              <a:t>Last Modified 5/15/2020 8:58 PM India Standard Time</a:t>
            </a:r>
            <a:endParaRPr lang="en-US" sz="800" baseline="0" dirty="0">
              <a:solidFill>
                <a:srgbClr val="808080"/>
              </a:solidFill>
              <a:latin typeface="+mn-lt"/>
            </a:endParaRPr>
          </a:p>
        </p:txBody>
      </p:sp>
      <p:sp>
        <p:nvSpPr>
          <p:cNvPr id="7" name="Printed"/>
          <p:cNvSpPr txBox="1">
            <a:spLocks noChangeArrowheads="1"/>
          </p:cNvSpPr>
          <p:nvPr userDrawn="1"/>
        </p:nvSpPr>
        <p:spPr bwMode="gray">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rgbClr val="808080"/>
                </a:solidFill>
                <a:latin typeface="+mn-lt"/>
              </a:rPr>
              <a:t>Printed</a:t>
            </a:r>
          </a:p>
        </p:txBody>
      </p:sp>
      <p:sp>
        <p:nvSpPr>
          <p:cNvPr id="13314" name="Title"/>
          <p:cNvSpPr>
            <a:spLocks noGrp="1" noChangeArrowheads="1"/>
          </p:cNvSpPr>
          <p:nvPr userDrawn="1">
            <p:ph type="ctrTitle"/>
          </p:nvPr>
        </p:nvSpPr>
        <p:spPr>
          <a:xfrm>
            <a:off x="2268266" y="1434419"/>
            <a:ext cx="6231663" cy="492443"/>
          </a:xfrm>
          <a:prstGeom prst="rect">
            <a:avLst/>
          </a:prstGeom>
        </p:spPr>
        <p:txBody>
          <a:bodyPr/>
          <a:lstStyle>
            <a:lvl1pPr>
              <a:defRPr sz="3200" b="0" baseline="0">
                <a:solidFill>
                  <a:schemeClr val="accent2"/>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userDrawn="1">
            <p:ph type="subTitle" idx="1"/>
          </p:nvPr>
        </p:nvSpPr>
        <p:spPr bwMode="gray">
          <a:xfrm>
            <a:off x="2268266" y="3119079"/>
            <a:ext cx="6231663" cy="215444"/>
          </a:xfrm>
          <a:prstGeom prst="rect">
            <a:avLst/>
          </a:prstGeom>
        </p:spPr>
        <p:txBody>
          <a:bodyPr wrap="square">
            <a:spAutoFit/>
          </a:bodyPr>
          <a:lstStyle>
            <a:lvl1pPr>
              <a:defRPr sz="1400" cap="all" baseline="0">
                <a:solidFill>
                  <a:schemeClr val="accent6"/>
                </a:solidFill>
                <a:latin typeface="+mn-lt"/>
                <a:ea typeface="+mn-ea"/>
              </a:defRPr>
            </a:lvl1pPr>
          </a:lstStyle>
          <a:p>
            <a:pPr lvl="0" latinLnBrk="0"/>
            <a:r>
              <a:rPr lang="en-US" noProof="0" dirty="0"/>
              <a:t>Click to edit Master subtitle style</a:t>
            </a:r>
          </a:p>
        </p:txBody>
      </p:sp>
      <p:sp>
        <p:nvSpPr>
          <p:cNvPr id="67" name="Document type" hidden="1"/>
          <p:cNvSpPr txBox="1">
            <a:spLocks noChangeArrowheads="1"/>
          </p:cNvSpPr>
          <p:nvPr userDrawn="1"/>
        </p:nvSpPr>
        <p:spPr bwMode="gray">
          <a:xfrm>
            <a:off x="2268265" y="3581761"/>
            <a:ext cx="6231663" cy="215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accent6"/>
                </a:solidFill>
                <a:latin typeface="+mn-lt"/>
              </a:rPr>
              <a:t>Document type | Date</a:t>
            </a:r>
          </a:p>
        </p:txBody>
      </p:sp>
      <p:sp>
        <p:nvSpPr>
          <p:cNvPr id="33" name="LogoImage"/>
          <p:cNvSpPr>
            <a:spLocks noEditPoints="1"/>
          </p:cNvSpPr>
          <p:nvPr userDrawn="1"/>
        </p:nvSpPr>
        <p:spPr bwMode="auto">
          <a:xfrm>
            <a:off x="2267712" y="155448"/>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7" name="Disclaimer-template_Blue" hidden="1"/>
          <p:cNvSpPr>
            <a:spLocks noChangeArrowheads="1"/>
          </p:cNvSpPr>
          <p:nvPr userDrawn="1"/>
        </p:nvSpPr>
        <p:spPr bwMode="black">
          <a:xfrm>
            <a:off x="2268266" y="6267796"/>
            <a:ext cx="3544453" cy="389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808080"/>
                </a:solidFill>
                <a:latin typeface="+mn-lt"/>
              </a:rPr>
              <a:t>CONFIDENTIALITY1</a:t>
            </a:r>
          </a:p>
          <a:p>
            <a:pPr defTabSz="804863" eaLnBrk="0" hangingPunct="0"/>
            <a:r>
              <a:rPr lang="en-US" sz="800" baseline="0" dirty="0">
                <a:solidFill>
                  <a:srgbClr val="808080"/>
                </a:solidFill>
                <a:latin typeface="+mn-lt"/>
              </a:rPr>
              <a:t>Confidentiality2</a:t>
            </a:r>
          </a:p>
        </p:txBody>
      </p:sp>
    </p:spTree>
    <p:extLst>
      <p:ext uri="{BB962C8B-B14F-4D97-AF65-F5344CB8AC3E}">
        <p14:creationId xmlns:p14="http://schemas.microsoft.com/office/powerpoint/2010/main" val="3541529602"/>
      </p:ext>
    </p:extLst>
  </p:cSld>
  <p:clrMapOvr>
    <a:masterClrMapping/>
  </p:clrMapOvr>
  <p:extLst>
    <p:ext uri="{DCECCB84-F9BA-43D5-87BE-67443E8EF086}">
      <p15:sldGuideLst xmlns:p15="http://schemas.microsoft.com/office/powerpoint/2012/main">
        <p15:guide id="1" orient="horz" pos="2117">
          <p15:clr>
            <a:srgbClr val="FBAE40"/>
          </p15:clr>
        </p15:guide>
        <p15:guide id="2" pos="282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p:txBody>
          <a:bodyPr/>
          <a:lstStyle/>
          <a:p>
            <a:r>
              <a:rPr lang="en-US" dirty="0"/>
              <a:t>Click to edit Master title style</a:t>
            </a:r>
          </a:p>
        </p:txBody>
      </p:sp>
      <p:sp>
        <p:nvSpPr>
          <p:cNvPr id="8" name="Slide Number"/>
          <p:cNvSpPr txBox="1">
            <a:spLocks/>
          </p:cNvSpPr>
          <p:nvPr userDrawn="1"/>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userDrawn="1">
            <p:custDataLst>
              <p:tags r:id="rId1"/>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a:spLocks noChangeArrowheads="1"/>
          </p:cNvSpPr>
          <p:nvPr userDrawn="1"/>
        </p:nvSpPr>
        <p:spPr bwMode="auto">
          <a:xfrm>
            <a:off x="7796463" y="50801"/>
            <a:ext cx="94272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en-US" sz="600" baseline="0" dirty="0">
              <a:solidFill>
                <a:srgbClr val="C5C5C5"/>
              </a:solidFill>
              <a:latin typeface="+mn-lt"/>
              <a:ea typeface="+mn-ea"/>
            </a:endParaRPr>
          </a:p>
        </p:txBody>
      </p:sp>
    </p:spTree>
    <p:extLst>
      <p:ext uri="{BB962C8B-B14F-4D97-AF65-F5344CB8AC3E}">
        <p14:creationId xmlns:p14="http://schemas.microsoft.com/office/powerpoint/2010/main" val="459507675"/>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1">
            <a:alpha val="3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2"/>
                </a:solidFill>
              </a:defRPr>
            </a:lvl1pPr>
          </a:lstStyle>
          <a:p>
            <a:r>
              <a:rPr lang="en-US" dirty="0"/>
              <a:t>Click to edit Master title style</a:t>
            </a:r>
          </a:p>
        </p:txBody>
      </p:sp>
      <p:sp>
        <p:nvSpPr>
          <p:cNvPr id="15" name="Slide Number"/>
          <p:cNvSpPr txBox="1">
            <a:spLocks/>
          </p:cNvSpPr>
          <p:nvPr userDrawn="1"/>
        </p:nvSpPr>
        <p:spPr>
          <a:xfrm>
            <a:off x="856456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16" name="SlideLogoText"/>
          <p:cNvSpPr>
            <a:spLocks noChangeArrowheads="1"/>
          </p:cNvSpPr>
          <p:nvPr userDrawn="1">
            <p:custDataLst>
              <p:tags r:id="rId1"/>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a:spLocks noChangeArrowheads="1"/>
          </p:cNvSpPr>
          <p:nvPr userDrawn="1"/>
        </p:nvSpPr>
        <p:spPr bwMode="auto">
          <a:xfrm>
            <a:off x="7796463" y="50801"/>
            <a:ext cx="94272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en-US" sz="600" baseline="0" dirty="0">
              <a:solidFill>
                <a:srgbClr val="C5C5C5"/>
              </a:solidFill>
              <a:latin typeface="+mn-lt"/>
              <a:ea typeface="+mn-ea"/>
            </a:endParaRPr>
          </a:p>
        </p:txBody>
      </p:sp>
    </p:spTree>
    <p:extLst>
      <p:ext uri="{BB962C8B-B14F-4D97-AF65-F5344CB8AC3E}">
        <p14:creationId xmlns:p14="http://schemas.microsoft.com/office/powerpoint/2010/main" val="111715918"/>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slideLayout" Target="../slideLayouts/slideLayout3.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image" Target="../media/image1.emf"/><Relationship Id="rId5" Type="http://schemas.openxmlformats.org/officeDocument/2006/relationships/vmlDrawing" Target="../drawings/vmlDrawing1.vml"/><Relationship Id="rId15" Type="http://schemas.openxmlformats.org/officeDocument/2006/relationships/tags" Target="../tags/tag11.xml"/><Relationship Id="rId23" Type="http://schemas.openxmlformats.org/officeDocument/2006/relationships/oleObject" Target="../embeddings/oleObject1.bin"/><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3" Type="http://schemas.openxmlformats.org/officeDocument/2006/relationships/slideLayout" Target="../slideLayouts/slideLayout6.xml"/><Relationship Id="rId21" Type="http://schemas.openxmlformats.org/officeDocument/2006/relationships/tags" Target="../tags/tag38.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 Type="http://schemas.openxmlformats.org/officeDocument/2006/relationships/slideLayout" Target="../slideLayouts/slideLayout5.xml"/><Relationship Id="rId16" Type="http://schemas.openxmlformats.org/officeDocument/2006/relationships/tags" Target="../tags/tag33.xml"/><Relationship Id="rId20" Type="http://schemas.openxmlformats.org/officeDocument/2006/relationships/tags" Target="../tags/tag37.xml"/><Relationship Id="rId1" Type="http://schemas.openxmlformats.org/officeDocument/2006/relationships/slideLayout" Target="../slideLayouts/slideLayout4.xml"/><Relationship Id="rId6" Type="http://schemas.openxmlformats.org/officeDocument/2006/relationships/tags" Target="../tags/tag23.xml"/><Relationship Id="rId11" Type="http://schemas.openxmlformats.org/officeDocument/2006/relationships/tags" Target="../tags/tag28.xml"/><Relationship Id="rId24" Type="http://schemas.openxmlformats.org/officeDocument/2006/relationships/image" Target="../media/image1.emf"/><Relationship Id="rId5" Type="http://schemas.openxmlformats.org/officeDocument/2006/relationships/vmlDrawing" Target="../drawings/vmlDrawing4.vml"/><Relationship Id="rId15" Type="http://schemas.openxmlformats.org/officeDocument/2006/relationships/tags" Target="../tags/tag32.xml"/><Relationship Id="rId23" Type="http://schemas.openxmlformats.org/officeDocument/2006/relationships/oleObject" Target="../embeddings/oleObject4.bin"/><Relationship Id="rId10" Type="http://schemas.openxmlformats.org/officeDocument/2006/relationships/tags" Target="../tags/tag27.xml"/><Relationship Id="rId19" Type="http://schemas.openxmlformats.org/officeDocument/2006/relationships/tags" Target="../tags/tag36.xml"/><Relationship Id="rId4" Type="http://schemas.openxmlformats.org/officeDocument/2006/relationships/theme" Target="../theme/theme2.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tags" Target="../tags/tag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36892435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029"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034" name="Working Draft"/>
          <p:cNvSpPr txBox="1">
            <a:spLocks noChangeArrowheads="1"/>
          </p:cNvSpPr>
          <p:nvPr/>
        </p:nvSpPr>
        <p:spPr bwMode="gray">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5/15/2020 8:58 PM India Standard Time</a:t>
            </a:r>
            <a:endParaRPr lang="en-US" baseline="0" dirty="0">
              <a:solidFill>
                <a:srgbClr val="808080"/>
              </a:solidFill>
              <a:latin typeface="+mn-lt"/>
              <a:ea typeface="+mn-ea"/>
            </a:endParaRPr>
          </a:p>
        </p:txBody>
      </p:sp>
      <p:sp>
        <p:nvSpPr>
          <p:cNvPr id="1035" name="Printed"/>
          <p:cNvSpPr txBox="1">
            <a:spLocks noChangeArrowheads="1"/>
          </p:cNvSpPr>
          <p:nvPr/>
        </p:nvSpPr>
        <p:spPr bwMode="gray">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a:solidFill>
                  <a:schemeClr val="accent6"/>
                </a:solidFill>
                <a:latin typeface="+mn-lt"/>
                <a:ea typeface="+mn-ea"/>
              </a:rPr>
              <a:t>Subtitle</a:t>
            </a:r>
            <a:endParaRPr lang="en-US" sz="1600" baseline="0" dirty="0">
              <a:solidFill>
                <a:schemeClr val="accent6"/>
              </a:solidFill>
              <a:latin typeface="+mn-lt"/>
              <a:ea typeface="+mn-ea"/>
            </a:endParaRPr>
          </a:p>
        </p:txBody>
      </p:sp>
      <p:sp>
        <p:nvSpPr>
          <p:cNvPr id="13" name="4. Footnote" hidden="1"/>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hidden="1"/>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30238" algn="l"/>
              </a:tabLst>
            </a:pPr>
            <a:r>
              <a:rPr lang="en-US" sz="800" baseline="0" dirty="0">
                <a:solidFill>
                  <a:schemeClr val="accent6"/>
                </a:solidFill>
                <a:latin typeface="+mn-lt"/>
                <a:ea typeface="+mn-ea"/>
              </a:rPr>
              <a:t>SOURCE: Source</a:t>
            </a:r>
          </a:p>
        </p:txBody>
      </p:sp>
      <p:sp>
        <p:nvSpPr>
          <p:cNvPr id="3" name="Text Placeholder 2"/>
          <p:cNvSpPr>
            <a:spLocks noGrp="1"/>
          </p:cNvSpPr>
          <p:nvPr userDrawn="1">
            <p:ph type="body" idx="1"/>
          </p:nvPr>
        </p:nvSpPr>
        <p:spPr bwMode="gray">
          <a:xfrm>
            <a:off x="1452564" y="1951380"/>
            <a:ext cx="4302125" cy="1107996"/>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userDrawn="1"/>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Sticker" hidden="1"/>
          <p:cNvGrpSpPr/>
          <p:nvPr userDrawn="1"/>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userDrawn="1"/>
        </p:nvSpPr>
        <p:spPr>
          <a:xfrm>
            <a:off x="8509000" y="6327339"/>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3" name="doc id" hidden="1"/>
          <p:cNvSpPr>
            <a:spLocks noChangeArrowheads="1"/>
          </p:cNvSpPr>
          <p:nvPr userDrawn="1"/>
        </p:nvSpPr>
        <p:spPr bwMode="auto">
          <a:xfrm>
            <a:off x="8081963" y="50801"/>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dirty="0">
              <a:solidFill>
                <a:srgbClr val="808080"/>
              </a:solidFill>
              <a:latin typeface="+mn-lt"/>
              <a:ea typeface="+mn-ea"/>
            </a:endParaRPr>
          </a:p>
        </p:txBody>
      </p:sp>
      <p:grpSp>
        <p:nvGrpSpPr>
          <p:cNvPr id="26" name="LegendBoxes" hidden="1"/>
          <p:cNvGrpSpPr/>
          <p:nvPr userDrawn="1"/>
        </p:nvGrpSpPr>
        <p:grpSpPr bwMode="gray">
          <a:xfrm>
            <a:off x="7915092" y="279400"/>
            <a:ext cx="763755" cy="997467"/>
            <a:chOff x="7835905" y="279400"/>
            <a:chExt cx="763755" cy="997467"/>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31"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2"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3"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4"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5" name="LegendLines" hidden="1"/>
          <p:cNvGrpSpPr/>
          <p:nvPr userDrawn="1"/>
        </p:nvGrpSpPr>
        <p:grpSpPr bwMode="gray">
          <a:xfrm>
            <a:off x="7607284" y="279400"/>
            <a:ext cx="1071563" cy="730251"/>
            <a:chOff x="7540629" y="279400"/>
            <a:chExt cx="1071563" cy="73025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9"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0"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1"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42" name="LegendMoons" hidden="1"/>
          <p:cNvGrpSpPr/>
          <p:nvPr userDrawn="1"/>
        </p:nvGrpSpPr>
        <p:grpSpPr bwMode="gray">
          <a:xfrm>
            <a:off x="7848417" y="250825"/>
            <a:ext cx="830430" cy="1306516"/>
            <a:chOff x="7769225" y="250825"/>
            <a:chExt cx="830430" cy="1306516"/>
          </a:xfrm>
        </p:grpSpPr>
        <p:grpSp>
          <p:nvGrpSpPr>
            <p:cNvPr id="43" name="MoonLegend1"/>
            <p:cNvGrpSpPr>
              <a:grpSpLocks noChangeAspect="1"/>
            </p:cNvGrpSpPr>
            <p:nvPr>
              <p:custDataLst>
                <p:tags r:id="rId8"/>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62"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4" name="MoonLegend2"/>
            <p:cNvGrpSpPr>
              <a:grpSpLocks noChangeAspect="1"/>
            </p:cNvGrpSpPr>
            <p:nvPr>
              <p:custDataLst>
                <p:tags r:id="rId9"/>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60" name="Arc 42"/>
              <p:cNvSpPr>
                <a:spLocks noChangeAspect="1"/>
              </p:cNvSpPr>
              <p:nvPr>
                <p:custDataLst>
                  <p:tags r:id="rId20"/>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5" name="MoonLegend4"/>
            <p:cNvGrpSpPr>
              <a:grpSpLocks noChangeAspect="1"/>
            </p:cNvGrpSpPr>
            <p:nvPr>
              <p:custDataLst>
                <p:tags r:id="rId10"/>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8"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6" name="MoonLegend5"/>
            <p:cNvGrpSpPr>
              <a:grpSpLocks noChangeAspect="1"/>
            </p:cNvGrpSpPr>
            <p:nvPr>
              <p:custDataLst>
                <p:tags r:id="rId11"/>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6"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7" name="MoonLegend3"/>
            <p:cNvGrpSpPr>
              <a:grpSpLocks noChangeAspect="1"/>
            </p:cNvGrpSpPr>
            <p:nvPr>
              <p:custDataLst>
                <p:tags r:id="rId12"/>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4"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48"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0"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1"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2"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Tree>
    <p:extLst>
      <p:ext uri="{BB962C8B-B14F-4D97-AF65-F5344CB8AC3E}">
        <p14:creationId xmlns:p14="http://schemas.microsoft.com/office/powerpoint/2010/main" val="3248019648"/>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Lst>
  <p:hf hdr="0" ftr="0" dt="0"/>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4002"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6" name="Rectangle 5" hidden="1"/>
          <p:cNvSpPr/>
          <p:nvPr userDrawn="1">
            <p:custDataLst>
              <p:tags r:id="rId7"/>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solidFill>
                <a:srgbClr val="000000"/>
              </a:solidFill>
              <a:sym typeface="Arial" panose="020B0604020202020204" pitchFamily="34" charset="0"/>
            </a:endParaRPr>
          </a:p>
        </p:txBody>
      </p:sp>
      <p:sp>
        <p:nvSpPr>
          <p:cNvPr id="19" name="Title Placeholder 2"/>
          <p:cNvSpPr>
            <a:spLocks noGrp="1" noChangeArrowheads="1"/>
          </p:cNvSpPr>
          <p:nvPr>
            <p:ph type="title"/>
          </p:nvPr>
        </p:nvSpPr>
        <p:spPr bwMode="auto">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3" name="Text Placeholder 2"/>
          <p:cNvSpPr>
            <a:spLocks noGrp="1"/>
          </p:cNvSpPr>
          <p:nvPr>
            <p:ph type="body" idx="1"/>
          </p:nvPr>
        </p:nvSpPr>
        <p:spPr>
          <a:xfrm>
            <a:off x="1452564" y="1951380"/>
            <a:ext cx="4302125" cy="1107996"/>
          </a:xfrm>
          <a:prstGeom prst="rect">
            <a:avLst/>
          </a:prstGeom>
        </p:spPr>
        <p:txBody>
          <a:bodyPr vert="horz"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sp>
        <p:nvSpPr>
          <p:cNvPr id="24" name="Working Draft"/>
          <p:cNvSpPr txBox="1">
            <a:spLocks noChangeArrowheads="1"/>
          </p:cNvSpPr>
          <p:nvPr userDrawn="1"/>
        </p:nvSpPr>
        <p:spPr bwMode="auto">
          <a:xfrm rot="5400000">
            <a:off x="7966656"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5/15/2020 8:58 PM India Standard Time</a:t>
            </a:r>
            <a:endParaRPr lang="en-US" baseline="0" dirty="0">
              <a:solidFill>
                <a:srgbClr val="808080"/>
              </a:solidFill>
              <a:latin typeface="+mn-lt"/>
              <a:ea typeface="+mn-ea"/>
            </a:endParaRPr>
          </a:p>
        </p:txBody>
      </p:sp>
      <p:sp>
        <p:nvSpPr>
          <p:cNvPr id="25" name="Printed"/>
          <p:cNvSpPr txBox="1">
            <a:spLocks noChangeArrowheads="1"/>
          </p:cNvSpPr>
          <p:nvPr userDrawn="1"/>
        </p:nvSpPr>
        <p:spPr bwMode="auto">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a:t>
            </a:r>
            <a:endParaRPr lang="en-US" baseline="0" dirty="0">
              <a:solidFill>
                <a:srgbClr val="808080"/>
              </a:solidFill>
              <a:latin typeface="+mn-lt"/>
              <a:ea typeface="+mn-ea"/>
            </a:endParaRPr>
          </a:p>
        </p:txBody>
      </p:sp>
      <p:sp>
        <p:nvSpPr>
          <p:cNvPr id="26" name="1. On-page tracker" hidden="1"/>
          <p:cNvSpPr>
            <a:spLocks noChangeArrowheads="1"/>
          </p:cNvSpPr>
          <p:nvPr userDrawn="1"/>
        </p:nvSpPr>
        <p:spPr bwMode="auto">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27" name="3. Unit of measure" hidden="1"/>
          <p:cNvSpPr txBox="1">
            <a:spLocks noChangeArrowheads="1"/>
          </p:cNvSpPr>
          <p:nvPr userDrawn="1"/>
        </p:nvSpPr>
        <p:spPr bwMode="auto">
          <a:xfrm>
            <a:off x="119062"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a:solidFill>
                  <a:schemeClr val="accent6"/>
                </a:solidFill>
                <a:latin typeface="+mn-lt"/>
                <a:ea typeface="+mn-ea"/>
              </a:rPr>
              <a:t>Subtitle</a:t>
            </a:r>
            <a:endParaRPr lang="en-US" sz="1600" baseline="0" dirty="0">
              <a:solidFill>
                <a:schemeClr val="accent6"/>
              </a:solidFill>
              <a:latin typeface="+mn-lt"/>
              <a:ea typeface="+mn-ea"/>
            </a:endParaRPr>
          </a:p>
        </p:txBody>
      </p:sp>
      <p:sp>
        <p:nvSpPr>
          <p:cNvPr id="29" name="4. Footnote" hidden="1"/>
          <p:cNvSpPr txBox="1">
            <a:spLocks noChangeArrowheads="1"/>
          </p:cNvSpPr>
          <p:nvPr/>
        </p:nvSpPr>
        <p:spPr bwMode="auto">
          <a:xfrm>
            <a:off x="119063" y="6305945"/>
            <a:ext cx="854868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30" name="5. Source" hidden="1"/>
          <p:cNvSpPr>
            <a:spLocks noChangeArrowheads="1"/>
          </p:cNvSpPr>
          <p:nvPr/>
        </p:nvSpPr>
        <p:spPr bwMode="auto">
          <a:xfrm>
            <a:off x="119063" y="6507558"/>
            <a:ext cx="686276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dirty="0">
                <a:solidFill>
                  <a:schemeClr val="accent6"/>
                </a:solidFill>
                <a:latin typeface="+mn-lt"/>
                <a:ea typeface="+mn-ea"/>
              </a:rPr>
              <a:t>SOURCE: Source</a:t>
            </a:r>
          </a:p>
        </p:txBody>
      </p:sp>
      <p:grpSp>
        <p:nvGrpSpPr>
          <p:cNvPr id="31" name="ACET" hidden="1"/>
          <p:cNvGrpSpPr>
            <a:grpSpLocks/>
          </p:cNvGrpSpPr>
          <p:nvPr userDrawn="1"/>
        </p:nvGrpSpPr>
        <p:grpSpPr bwMode="auto">
          <a:xfrm>
            <a:off x="1452563" y="1257754"/>
            <a:ext cx="4264025" cy="508000"/>
            <a:chOff x="915" y="710"/>
            <a:chExt cx="2686" cy="320"/>
          </a:xfrm>
        </p:grpSpPr>
        <p:cxnSp>
          <p:nvCxnSpPr>
            <p:cNvPr id="32" name="AutoShape 249"/>
            <p:cNvCxnSpPr>
              <a:cxnSpLocks noChangeShapeType="1"/>
              <a:stCxn id="33" idx="4"/>
              <a:endCxn id="33"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34" name="Sticker" hidden="1"/>
          <p:cNvGrpSpPr/>
          <p:nvPr userDrawn="1"/>
        </p:nvGrpSpPr>
        <p:grpSpPr>
          <a:xfrm>
            <a:off x="8264265" y="285750"/>
            <a:ext cx="473335" cy="150811"/>
            <a:chOff x="8267440" y="285750"/>
            <a:chExt cx="473335" cy="150811"/>
          </a:xfrm>
        </p:grpSpPr>
        <p:sp>
          <p:nvSpPr>
            <p:cNvPr id="35" name="StickerRectangle"/>
            <p:cNvSpPr>
              <a:spLocks noChangeArrowheads="1"/>
            </p:cNvSpPr>
            <p:nvPr/>
          </p:nvSpPr>
          <p:spPr bwMode="auto">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36" name="AutoShape 31"/>
            <p:cNvCxnSpPr>
              <a:cxnSpLocks noChangeShapeType="1"/>
              <a:stCxn id="35" idx="2"/>
              <a:endCxn id="35" idx="4"/>
            </p:cNvCxnSpPr>
            <p:nvPr/>
          </p:nvCxnSpPr>
          <p:spPr bwMode="auto">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37" name="AutoShape 32"/>
            <p:cNvCxnSpPr>
              <a:cxnSpLocks noChangeShapeType="1"/>
              <a:stCxn id="35" idx="4"/>
              <a:endCxn id="35" idx="6"/>
            </p:cNvCxnSpPr>
            <p:nvPr/>
          </p:nvCxnSpPr>
          <p:spPr bwMode="auto">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1" name="SlideBottomBar" hidden="1"/>
          <p:cNvSpPr/>
          <p:nvPr userDrawn="1"/>
        </p:nvSpPr>
        <p:spPr>
          <a:xfrm>
            <a:off x="8799702" y="632865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rgbClr val="000000"/>
              </a:solidFill>
              <a:latin typeface="+mn-lt"/>
              <a:ea typeface="+mn-ea"/>
            </a:endParaRPr>
          </a:p>
        </p:txBody>
      </p:sp>
      <p:sp>
        <p:nvSpPr>
          <p:cNvPr id="22" name="doc id" hidden="1"/>
          <p:cNvSpPr>
            <a:spLocks noChangeArrowheads="1"/>
          </p:cNvSpPr>
          <p:nvPr userDrawn="1"/>
        </p:nvSpPr>
        <p:spPr bwMode="auto">
          <a:xfrm>
            <a:off x="7796463" y="50801"/>
            <a:ext cx="94272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en-US" sz="600" baseline="0" dirty="0">
              <a:solidFill>
                <a:srgbClr val="C5C5C5"/>
              </a:solidFill>
              <a:latin typeface="+mn-lt"/>
              <a:ea typeface="+mn-ea"/>
            </a:endParaRPr>
          </a:p>
        </p:txBody>
      </p:sp>
      <p:grpSp>
        <p:nvGrpSpPr>
          <p:cNvPr id="38" name="LegendBoxes" hidden="1"/>
          <p:cNvGrpSpPr/>
          <p:nvPr userDrawn="1"/>
        </p:nvGrpSpPr>
        <p:grpSpPr bwMode="gray">
          <a:xfrm>
            <a:off x="7917131" y="279400"/>
            <a:ext cx="763755" cy="997467"/>
            <a:chOff x="7835905" y="279400"/>
            <a:chExt cx="763755" cy="997467"/>
          </a:xfrm>
        </p:grpSpPr>
        <p:sp>
          <p:nvSpPr>
            <p:cNvPr id="39"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40"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41"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42"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43"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44"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45"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46"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grpSp>
      <p:grpSp>
        <p:nvGrpSpPr>
          <p:cNvPr id="47" name="LegendLines" hidden="1"/>
          <p:cNvGrpSpPr/>
          <p:nvPr userDrawn="1"/>
        </p:nvGrpSpPr>
        <p:grpSpPr bwMode="gray">
          <a:xfrm>
            <a:off x="7609323" y="279400"/>
            <a:ext cx="1071563" cy="730251"/>
            <a:chOff x="7540629" y="279400"/>
            <a:chExt cx="1071563" cy="730251"/>
          </a:xfrm>
        </p:grpSpPr>
        <p:sp>
          <p:nvSpPr>
            <p:cNvPr id="48"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solidFill>
                  <a:srgbClr val="000000"/>
                </a:solidFill>
                <a:latin typeface="+mn-lt"/>
                <a:ea typeface="+mn-ea"/>
              </a:endParaRPr>
            </a:p>
          </p:txBody>
        </p:sp>
        <p:sp>
          <p:nvSpPr>
            <p:cNvPr id="49"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solidFill>
                  <a:srgbClr val="000000"/>
                </a:solidFill>
                <a:latin typeface="+mn-lt"/>
                <a:ea typeface="+mn-ea"/>
              </a:endParaRPr>
            </a:p>
          </p:txBody>
        </p:sp>
        <p:sp>
          <p:nvSpPr>
            <p:cNvPr id="50"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solidFill>
                  <a:srgbClr val="000000"/>
                </a:solidFill>
                <a:latin typeface="+mn-lt"/>
                <a:ea typeface="+mn-ea"/>
              </a:endParaRPr>
            </a:p>
          </p:txBody>
        </p:sp>
        <p:sp>
          <p:nvSpPr>
            <p:cNvPr id="51"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52"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53"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grpSp>
      <p:grpSp>
        <p:nvGrpSpPr>
          <p:cNvPr id="54" name="LegendMoons" hidden="1"/>
          <p:cNvGrpSpPr/>
          <p:nvPr userDrawn="1"/>
        </p:nvGrpSpPr>
        <p:grpSpPr bwMode="gray">
          <a:xfrm>
            <a:off x="7850456" y="250825"/>
            <a:ext cx="830430" cy="1306516"/>
            <a:chOff x="7769225" y="250825"/>
            <a:chExt cx="830430" cy="1306516"/>
          </a:xfrm>
        </p:grpSpPr>
        <p:grpSp>
          <p:nvGrpSpPr>
            <p:cNvPr id="55" name="MoonLegend1"/>
            <p:cNvGrpSpPr>
              <a:grpSpLocks noChangeAspect="1"/>
            </p:cNvGrpSpPr>
            <p:nvPr>
              <p:custDataLst>
                <p:tags r:id="rId8"/>
              </p:custDataLst>
            </p:nvPr>
          </p:nvGrpSpPr>
          <p:grpSpPr bwMode="gray">
            <a:xfrm>
              <a:off x="7769225" y="250825"/>
              <a:ext cx="209550" cy="209551"/>
              <a:chOff x="4533" y="183"/>
              <a:chExt cx="144" cy="144"/>
            </a:xfrm>
          </p:grpSpPr>
          <p:sp>
            <p:nvSpPr>
              <p:cNvPr id="73"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74"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56" name="MoonLegend2"/>
            <p:cNvGrpSpPr>
              <a:grpSpLocks noChangeAspect="1"/>
            </p:cNvGrpSpPr>
            <p:nvPr>
              <p:custDataLst>
                <p:tags r:id="rId9"/>
              </p:custDataLst>
            </p:nvPr>
          </p:nvGrpSpPr>
          <p:grpSpPr bwMode="gray">
            <a:xfrm>
              <a:off x="7769225" y="525066"/>
              <a:ext cx="209550" cy="209551"/>
              <a:chOff x="1694" y="2044"/>
              <a:chExt cx="160" cy="160"/>
            </a:xfrm>
          </p:grpSpPr>
          <p:sp>
            <p:nvSpPr>
              <p:cNvPr id="71"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72" name="Arc 42"/>
              <p:cNvSpPr>
                <a:spLocks noChangeAspect="1"/>
              </p:cNvSpPr>
              <p:nvPr>
                <p:custDataLst>
                  <p:tags r:id="rId20"/>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57" name="MoonLegend4"/>
            <p:cNvGrpSpPr>
              <a:grpSpLocks noChangeAspect="1"/>
            </p:cNvGrpSpPr>
            <p:nvPr>
              <p:custDataLst>
                <p:tags r:id="rId10"/>
              </p:custDataLst>
            </p:nvPr>
          </p:nvGrpSpPr>
          <p:grpSpPr bwMode="gray">
            <a:xfrm>
              <a:off x="7769225" y="1073548"/>
              <a:ext cx="209550" cy="209551"/>
              <a:chOff x="4495" y="1198"/>
              <a:chExt cx="160" cy="160"/>
            </a:xfrm>
          </p:grpSpPr>
          <p:sp>
            <p:nvSpPr>
              <p:cNvPr id="69"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70"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58" name="MoonLegend5"/>
            <p:cNvGrpSpPr>
              <a:grpSpLocks noChangeAspect="1"/>
            </p:cNvGrpSpPr>
            <p:nvPr>
              <p:custDataLst>
                <p:tags r:id="rId11"/>
              </p:custDataLst>
            </p:nvPr>
          </p:nvGrpSpPr>
          <p:grpSpPr bwMode="gray">
            <a:xfrm>
              <a:off x="7769225" y="1347790"/>
              <a:ext cx="209550" cy="209551"/>
              <a:chOff x="4495" y="1440"/>
              <a:chExt cx="160" cy="160"/>
            </a:xfrm>
          </p:grpSpPr>
          <p:sp>
            <p:nvSpPr>
              <p:cNvPr id="67"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68"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59" name="MoonLegend3"/>
            <p:cNvGrpSpPr>
              <a:grpSpLocks noChangeAspect="1"/>
            </p:cNvGrpSpPr>
            <p:nvPr>
              <p:custDataLst>
                <p:tags r:id="rId12"/>
              </p:custDataLst>
            </p:nvPr>
          </p:nvGrpSpPr>
          <p:grpSpPr bwMode="gray">
            <a:xfrm>
              <a:off x="7769225" y="799307"/>
              <a:ext cx="209550" cy="209551"/>
              <a:chOff x="4495" y="1198"/>
              <a:chExt cx="160" cy="160"/>
            </a:xfrm>
          </p:grpSpPr>
          <p:sp>
            <p:nvSpPr>
              <p:cNvPr id="65"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66"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sp>
          <p:nvSpPr>
            <p:cNvPr id="60"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61"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62"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63"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64"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grpSp>
    </p:spTree>
    <p:extLst>
      <p:ext uri="{BB962C8B-B14F-4D97-AF65-F5344CB8AC3E}">
        <p14:creationId xmlns:p14="http://schemas.microsoft.com/office/powerpoint/2010/main" val="2399249206"/>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Lst>
  <p:hf hdr="0" ftr="0" dt="0"/>
  <p:txStyles>
    <p:title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4.xml"/><Relationship Id="rId7" Type="http://schemas.openxmlformats.org/officeDocument/2006/relationships/oleObject" Target="../embeddings/oleObject6.bin"/><Relationship Id="rId2" Type="http://schemas.openxmlformats.org/officeDocument/2006/relationships/tags" Target="../tags/tag43.xml"/><Relationship Id="rId1" Type="http://schemas.openxmlformats.org/officeDocument/2006/relationships/vmlDrawing" Target="../drawings/vmlDrawing6.vml"/><Relationship Id="rId6" Type="http://schemas.openxmlformats.org/officeDocument/2006/relationships/notesSlide" Target="../notesSlides/notesSlide1.xml"/><Relationship Id="rId5" Type="http://schemas.openxmlformats.org/officeDocument/2006/relationships/slideLayout" Target="../slideLayouts/slideLayout2.xml"/><Relationship Id="rId10" Type="http://schemas.openxmlformats.org/officeDocument/2006/relationships/image" Target="../media/image7.png"/><Relationship Id="rId4" Type="http://schemas.openxmlformats.org/officeDocument/2006/relationships/tags" Target="../tags/tag45.xml"/><Relationship Id="rId9"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3" name="Object 18" hidden="1"/>
          <p:cNvGraphicFramePr>
            <a:graphicFrameLocks noChangeAspect="1"/>
          </p:cNvGraphicFramePr>
          <p:nvPr>
            <p:custDataLst>
              <p:tags r:id="rId2"/>
            </p:custDataLst>
            <p:extLst>
              <p:ext uri="{D42A27DB-BD31-4B8C-83A1-F6EECF244321}">
                <p14:modId xmlns:p14="http://schemas.microsoft.com/office/powerpoint/2010/main" val="1050585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967" name="think-cell Slide" r:id="rId7" imgW="270" imgH="270" progId="TCLayout.ActiveDocument.1">
                  <p:embed/>
                </p:oleObj>
              </mc:Choice>
              <mc:Fallback>
                <p:oleObj name="think-cell Slide" r:id="rId7" imgW="270" imgH="270" progId="TCLayout.ActiveDocument.1">
                  <p:embed/>
                  <p:pic>
                    <p:nvPicPr>
                      <p:cNvPr id="5123" name="Object 18"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 name="Rectangle 2" hidden="1">
            <a:extLst>
              <a:ext uri="{FF2B5EF4-FFF2-40B4-BE49-F238E27FC236}">
                <a16:creationId xmlns:a16="http://schemas.microsoft.com/office/drawing/2014/main" id="{04C1B526-B36D-41AE-B9B5-352DDFA22131}"/>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800" dirty="0" err="1">
              <a:solidFill>
                <a:schemeClr val="tx1"/>
              </a:solidFill>
              <a:latin typeface="Arial" panose="020B0604020202020204" pitchFamily="34" charset="0"/>
              <a:ea typeface="+mj-ea"/>
              <a:cs typeface="+mj-cs"/>
              <a:sym typeface="Arial" panose="020B0604020202020204" pitchFamily="34" charset="0"/>
            </a:endParaRPr>
          </a:p>
        </p:txBody>
      </p:sp>
      <p:sp>
        <p:nvSpPr>
          <p:cNvPr id="5126" name="Rectangle 2" hidden="1"/>
          <p:cNvSpPr>
            <a:spLocks noChangeArrowheads="1"/>
          </p:cNvSpPr>
          <p:nvPr/>
        </p:nvSpPr>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marL="342900" indent="-342900" defTabSz="895350">
              <a:buClr>
                <a:schemeClr val="tx2"/>
              </a:buClr>
              <a:defRPr sz="1600">
                <a:solidFill>
                  <a:schemeClr val="tx1"/>
                </a:solidFill>
                <a:latin typeface="Arial" panose="020B0604020202020204" pitchFamily="34" charset="0"/>
                <a:cs typeface="Arial" panose="020B0604020202020204" pitchFamily="34" charset="0"/>
              </a:defRPr>
            </a:lvl1pPr>
            <a:lvl2pPr marL="742950" indent="-741363" defTabSz="89535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9477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1141413" defTabSz="89535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1441450" defTabSz="89535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1441450"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1441450"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1441450"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1441450"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buClrTx/>
            </a:pPr>
            <a:endParaRPr lang="en-US" altLang="en-US" dirty="0"/>
          </a:p>
        </p:txBody>
      </p:sp>
      <p:sp>
        <p:nvSpPr>
          <p:cNvPr id="865287" name="Rectangle 7"/>
          <p:cNvSpPr>
            <a:spLocks noGrp="1" noChangeArrowheads="1"/>
          </p:cNvSpPr>
          <p:nvPr>
            <p:ph type="title"/>
            <p:custDataLst>
              <p:tags r:id="rId4"/>
            </p:custDataLst>
          </p:nvPr>
        </p:nvSpPr>
        <p:spPr>
          <a:xfrm>
            <a:off x="119063" y="230188"/>
            <a:ext cx="8618537" cy="276999"/>
          </a:xfrm>
        </p:spPr>
        <p:txBody>
          <a:bodyPr>
            <a:spAutoFit/>
          </a:bodyPr>
          <a:lstStyle/>
          <a:p>
            <a:pPr eaLnBrk="1" hangingPunct="1">
              <a:defRPr/>
            </a:pPr>
            <a:r>
              <a:rPr lang="en-US" sz="1800" dirty="0">
                <a:solidFill>
                  <a:schemeClr val="tx1"/>
                </a:solidFill>
              </a:rPr>
              <a:t>Ajay Nehra</a:t>
            </a:r>
          </a:p>
        </p:txBody>
      </p:sp>
      <p:grpSp>
        <p:nvGrpSpPr>
          <p:cNvPr id="49" name="Group 48"/>
          <p:cNvGrpSpPr/>
          <p:nvPr/>
        </p:nvGrpSpPr>
        <p:grpSpPr>
          <a:xfrm>
            <a:off x="59652" y="867414"/>
            <a:ext cx="8677948" cy="6163275"/>
            <a:chOff x="119063" y="867414"/>
            <a:chExt cx="8677948" cy="6163275"/>
          </a:xfrm>
        </p:grpSpPr>
        <p:cxnSp>
          <p:nvCxnSpPr>
            <p:cNvPr id="20" name="Straight Connector 19"/>
            <p:cNvCxnSpPr>
              <a:cxnSpLocks/>
            </p:cNvCxnSpPr>
            <p:nvPr/>
          </p:nvCxnSpPr>
          <p:spPr>
            <a:xfrm>
              <a:off x="2440850" y="867414"/>
              <a:ext cx="0" cy="5556917"/>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119063" y="2615139"/>
              <a:ext cx="2316490" cy="4415550"/>
              <a:chOff x="119063" y="2615139"/>
              <a:chExt cx="2316490" cy="4415550"/>
            </a:xfrm>
          </p:grpSpPr>
          <p:sp>
            <p:nvSpPr>
              <p:cNvPr id="33" name="Rectangle 28">
                <a:extLst>
                  <a:ext uri="{FF2B5EF4-FFF2-40B4-BE49-F238E27FC236}">
                    <a16:creationId xmlns:a16="http://schemas.microsoft.com/office/drawing/2014/main" id="{4595FDAA-FCD3-4CE4-AFBB-8E5D41987995}"/>
                  </a:ext>
                </a:extLst>
              </p:cNvPr>
              <p:cNvSpPr>
                <a:spLocks noChangeArrowheads="1"/>
              </p:cNvSpPr>
              <p:nvPr/>
            </p:nvSpPr>
            <p:spPr bwMode="gray">
              <a:xfrm>
                <a:off x="119063" y="2615139"/>
                <a:ext cx="2257079" cy="184666"/>
              </a:xfrm>
              <a:prstGeom prst="rect">
                <a:avLst/>
              </a:prstGeom>
              <a:noFill/>
              <a:ln w="9525">
                <a:noFill/>
                <a:miter lim="800000"/>
                <a:headEnd/>
                <a:tailEnd/>
              </a:ln>
            </p:spPr>
            <p:txBody>
              <a:bodyPr wrap="square" lIns="0" tIns="0" rIns="0" bIns="0">
                <a:spAutoFit/>
              </a:bodyPr>
              <a:lstStyle/>
              <a:p>
                <a:pPr defTabSz="895350">
                  <a:spcBef>
                    <a:spcPts val="300"/>
                  </a:spcBef>
                  <a:buClr>
                    <a:schemeClr val="tx2"/>
                  </a:buClr>
                </a:pPr>
                <a:r>
                  <a:rPr lang="en-US" altLang="ko-KR" sz="1200" b="1" dirty="0">
                    <a:solidFill>
                      <a:schemeClr val="accent4"/>
                    </a:solidFill>
                    <a:latin typeface="+mn-lt"/>
                    <a:ea typeface="Gulim" pitchFamily="34" charset="-127"/>
                  </a:rPr>
                  <a:t>Role: </a:t>
                </a:r>
                <a:r>
                  <a:rPr lang="en-US" altLang="ko-KR" sz="1200" dirty="0">
                    <a:latin typeface="+mn-lt"/>
                    <a:ea typeface="Gulim" pitchFamily="34" charset="-127"/>
                  </a:rPr>
                  <a:t>Senior Analyst</a:t>
                </a:r>
                <a:endParaRPr lang="en-US" sz="1150" dirty="0">
                  <a:latin typeface="+mn-lt"/>
                  <a:ea typeface="Gulim" pitchFamily="34" charset="-127"/>
                  <a:cs typeface="Times New Roman" pitchFamily="18" charset="0"/>
                </a:endParaRPr>
              </a:p>
            </p:txBody>
          </p:sp>
          <p:sp>
            <p:nvSpPr>
              <p:cNvPr id="34" name="Rectangle 28">
                <a:extLst>
                  <a:ext uri="{FF2B5EF4-FFF2-40B4-BE49-F238E27FC236}">
                    <a16:creationId xmlns:a16="http://schemas.microsoft.com/office/drawing/2014/main" id="{2C382D32-02F0-43AB-A935-A79BE89DA8C1}"/>
                  </a:ext>
                </a:extLst>
              </p:cNvPr>
              <p:cNvSpPr>
                <a:spLocks noChangeArrowheads="1"/>
              </p:cNvSpPr>
              <p:nvPr/>
            </p:nvSpPr>
            <p:spPr bwMode="gray">
              <a:xfrm>
                <a:off x="119063" y="2938396"/>
                <a:ext cx="2257079" cy="184666"/>
              </a:xfrm>
              <a:prstGeom prst="rect">
                <a:avLst/>
              </a:prstGeom>
              <a:noFill/>
              <a:ln w="9525">
                <a:noFill/>
                <a:miter lim="800000"/>
                <a:headEnd/>
                <a:tailEnd/>
              </a:ln>
            </p:spPr>
            <p:txBody>
              <a:bodyPr wrap="square" lIns="0" tIns="0" rIns="0" bIns="0">
                <a:spAutoFit/>
              </a:bodyPr>
              <a:lstStyle/>
              <a:p>
                <a:pPr defTabSz="895350">
                  <a:spcBef>
                    <a:spcPts val="300"/>
                  </a:spcBef>
                  <a:buClr>
                    <a:schemeClr val="tx2"/>
                  </a:buClr>
                </a:pPr>
                <a:r>
                  <a:rPr lang="en-US" altLang="ko-KR" sz="1200" b="1" dirty="0">
                    <a:solidFill>
                      <a:schemeClr val="accent4"/>
                    </a:solidFill>
                    <a:latin typeface="+mn-lt"/>
                    <a:ea typeface="Gulim" pitchFamily="34" charset="-127"/>
                  </a:rPr>
                  <a:t>Office: </a:t>
                </a:r>
                <a:r>
                  <a:rPr lang="en-US" altLang="ko-KR" sz="1150" dirty="0">
                    <a:latin typeface="+mn-lt"/>
                    <a:ea typeface="Gulim" pitchFamily="34" charset="-127"/>
                  </a:rPr>
                  <a:t>Gurgaon, India</a:t>
                </a:r>
                <a:endParaRPr lang="en-US" sz="1150" dirty="0">
                  <a:latin typeface="+mn-lt"/>
                  <a:ea typeface="Gulim" pitchFamily="34" charset="-127"/>
                  <a:cs typeface="Times New Roman" pitchFamily="18" charset="0"/>
                </a:endParaRPr>
              </a:p>
            </p:txBody>
          </p:sp>
          <p:sp>
            <p:nvSpPr>
              <p:cNvPr id="35" name="Rectangle 20">
                <a:extLst>
                  <a:ext uri="{FF2B5EF4-FFF2-40B4-BE49-F238E27FC236}">
                    <a16:creationId xmlns:a16="http://schemas.microsoft.com/office/drawing/2014/main" id="{DFBA1DA9-51D7-41BC-96ED-7D4F98164514}"/>
                  </a:ext>
                </a:extLst>
              </p:cNvPr>
              <p:cNvSpPr>
                <a:spLocks noChangeArrowheads="1"/>
              </p:cNvSpPr>
              <p:nvPr/>
            </p:nvSpPr>
            <p:spPr bwMode="gray">
              <a:xfrm>
                <a:off x="119063" y="3261653"/>
                <a:ext cx="2257079" cy="184666"/>
              </a:xfrm>
              <a:prstGeom prst="rect">
                <a:avLst/>
              </a:prstGeom>
              <a:noFill/>
              <a:ln w="9525">
                <a:noFill/>
                <a:miter lim="800000"/>
                <a:headEnd/>
                <a:tailEnd/>
              </a:ln>
            </p:spPr>
            <p:txBody>
              <a:bodyPr wrap="square" lIns="0" tIns="0" rIns="0" bIns="0">
                <a:spAutoFit/>
              </a:bodyPr>
              <a:lstStyle/>
              <a:p>
                <a:pPr defTabSz="895350">
                  <a:spcBef>
                    <a:spcPts val="300"/>
                  </a:spcBef>
                  <a:buClr>
                    <a:schemeClr val="tx2"/>
                  </a:buClr>
                </a:pPr>
                <a:r>
                  <a:rPr lang="en-US" altLang="ko-KR" sz="1200" b="1" dirty="0">
                    <a:solidFill>
                      <a:schemeClr val="accent4"/>
                    </a:solidFill>
                    <a:latin typeface="+mn-lt"/>
                    <a:ea typeface="Gulim" pitchFamily="34" charset="-127"/>
                  </a:rPr>
                  <a:t>McKinsey experience: </a:t>
                </a:r>
                <a:r>
                  <a:rPr lang="en-US" altLang="ko-KR" sz="1150" dirty="0">
                    <a:latin typeface="+mn-lt"/>
                    <a:ea typeface="Gulim" pitchFamily="34" charset="-127"/>
                  </a:rPr>
                  <a:t>0+6</a:t>
                </a:r>
              </a:p>
            </p:txBody>
          </p:sp>
          <p:sp>
            <p:nvSpPr>
              <p:cNvPr id="36" name="Rectangle 20">
                <a:extLst>
                  <a:ext uri="{FF2B5EF4-FFF2-40B4-BE49-F238E27FC236}">
                    <a16:creationId xmlns:a16="http://schemas.microsoft.com/office/drawing/2014/main" id="{C0165F96-DBED-4419-BE66-78C0B694357A}"/>
                  </a:ext>
                </a:extLst>
              </p:cNvPr>
              <p:cNvSpPr>
                <a:spLocks noChangeArrowheads="1"/>
              </p:cNvSpPr>
              <p:nvPr/>
            </p:nvSpPr>
            <p:spPr bwMode="gray">
              <a:xfrm>
                <a:off x="119063" y="3584910"/>
                <a:ext cx="2257079" cy="184666"/>
              </a:xfrm>
              <a:prstGeom prst="rect">
                <a:avLst/>
              </a:prstGeom>
              <a:noFill/>
              <a:ln w="9525">
                <a:noFill/>
                <a:miter lim="800000"/>
                <a:headEnd/>
                <a:tailEnd/>
              </a:ln>
            </p:spPr>
            <p:txBody>
              <a:bodyPr wrap="square" lIns="0" tIns="0" rIns="0" bIns="0">
                <a:spAutoFit/>
              </a:bodyPr>
              <a:lstStyle/>
              <a:p>
                <a:pPr defTabSz="895350">
                  <a:spcBef>
                    <a:spcPts val="300"/>
                  </a:spcBef>
                  <a:buClr>
                    <a:schemeClr val="tx2"/>
                  </a:buClr>
                </a:pPr>
                <a:r>
                  <a:rPr lang="en-US" altLang="ko-KR" sz="1200" b="1" dirty="0">
                    <a:solidFill>
                      <a:schemeClr val="accent4"/>
                    </a:solidFill>
                    <a:latin typeface="+mn-lt"/>
                    <a:ea typeface="Gulim" pitchFamily="34" charset="-127"/>
                  </a:rPr>
                  <a:t>Total experience: </a:t>
                </a:r>
                <a:r>
                  <a:rPr lang="en-US" altLang="ko-KR" sz="1150" dirty="0">
                    <a:latin typeface="+mn-lt"/>
                    <a:ea typeface="Gulim" pitchFamily="34" charset="-127"/>
                  </a:rPr>
                  <a:t>5 Years</a:t>
                </a:r>
              </a:p>
            </p:txBody>
          </p:sp>
          <p:sp>
            <p:nvSpPr>
              <p:cNvPr id="41" name="Rectangle 21">
                <a:extLst>
                  <a:ext uri="{FF2B5EF4-FFF2-40B4-BE49-F238E27FC236}">
                    <a16:creationId xmlns:a16="http://schemas.microsoft.com/office/drawing/2014/main" id="{A580806A-AFB7-4F1A-83E1-A7C74A338F94}"/>
                  </a:ext>
                </a:extLst>
              </p:cNvPr>
              <p:cNvSpPr>
                <a:spLocks noChangeArrowheads="1"/>
              </p:cNvSpPr>
              <p:nvPr/>
            </p:nvSpPr>
            <p:spPr bwMode="gray">
              <a:xfrm>
                <a:off x="119063" y="3908167"/>
                <a:ext cx="2257079" cy="2085186"/>
              </a:xfrm>
              <a:prstGeom prst="rect">
                <a:avLst/>
              </a:prstGeom>
              <a:noFill/>
              <a:ln w="9525">
                <a:noFill/>
                <a:miter lim="800000"/>
                <a:headEnd/>
                <a:tailEnd/>
              </a:ln>
              <a:effectLst/>
            </p:spPr>
            <p:txBody>
              <a:bodyPr wrap="square" lIns="0" tIns="0" rIns="0" bIns="0">
                <a:spAutoFit/>
              </a:bodyPr>
              <a:lstStyle/>
              <a:p>
                <a:pPr defTabSz="895350">
                  <a:spcBef>
                    <a:spcPts val="300"/>
                  </a:spcBef>
                  <a:buClr>
                    <a:schemeClr val="tx2"/>
                  </a:buClr>
                </a:pPr>
                <a:r>
                  <a:rPr lang="en-US" altLang="ko-KR" sz="1200" b="1" dirty="0">
                    <a:solidFill>
                      <a:schemeClr val="accent4"/>
                    </a:solidFill>
                    <a:latin typeface="+mn-lt"/>
                  </a:rPr>
                  <a:t>Technical expertise:</a:t>
                </a:r>
              </a:p>
              <a:p>
                <a:pPr marL="183030" lvl="1" indent="-181409" defTabSz="913526">
                  <a:spcBef>
                    <a:spcPts val="300"/>
                  </a:spcBef>
                  <a:buClr>
                    <a:schemeClr val="tx2"/>
                  </a:buClr>
                  <a:buSzPct val="125000"/>
                  <a:buFont typeface="Arial" charset="0"/>
                  <a:buChar char="▪"/>
                  <a:defRPr/>
                </a:pPr>
                <a:r>
                  <a:rPr lang="en-US" altLang="ko-KR" sz="1150" dirty="0">
                    <a:latin typeface="+mn-lt"/>
                    <a:cs typeface="Arial" panose="020B0604020202020204" pitchFamily="34" charset="0"/>
                  </a:rPr>
                  <a:t>Price and promotion Modelling</a:t>
                </a:r>
              </a:p>
              <a:p>
                <a:pPr marL="183030" lvl="1" indent="-181409" defTabSz="913526">
                  <a:spcBef>
                    <a:spcPts val="300"/>
                  </a:spcBef>
                  <a:buClr>
                    <a:schemeClr val="tx2"/>
                  </a:buClr>
                  <a:buSzPct val="125000"/>
                  <a:buFont typeface="Arial" charset="0"/>
                  <a:buChar char="▪"/>
                  <a:defRPr/>
                </a:pPr>
                <a:r>
                  <a:rPr lang="en-US" altLang="ko-KR" sz="1150" dirty="0">
                    <a:latin typeface="+mn-lt"/>
                    <a:cs typeface="Arial" panose="020B0604020202020204" pitchFamily="34" charset="0"/>
                  </a:rPr>
                  <a:t>Credit Risk Modelling</a:t>
                </a:r>
              </a:p>
              <a:p>
                <a:pPr marL="183030" lvl="1" indent="-181409" defTabSz="913526">
                  <a:spcBef>
                    <a:spcPts val="300"/>
                  </a:spcBef>
                  <a:buClr>
                    <a:schemeClr val="tx2"/>
                  </a:buClr>
                  <a:buSzPct val="125000"/>
                  <a:buFont typeface="Arial" charset="0"/>
                  <a:buChar char="▪"/>
                  <a:defRPr/>
                </a:pPr>
                <a:r>
                  <a:rPr lang="en-US" altLang="ko-KR" sz="1150" dirty="0">
                    <a:latin typeface="+mn-lt"/>
                    <a:cs typeface="Arial" panose="020B0604020202020204" pitchFamily="34" charset="0"/>
                  </a:rPr>
                  <a:t>Customer Behavior Analytics</a:t>
                </a:r>
              </a:p>
              <a:p>
                <a:pPr marL="183030" lvl="1" indent="-181409" defTabSz="913526">
                  <a:spcBef>
                    <a:spcPts val="300"/>
                  </a:spcBef>
                  <a:buClr>
                    <a:schemeClr val="tx2"/>
                  </a:buClr>
                  <a:buSzPct val="125000"/>
                  <a:buFont typeface="Arial" charset="0"/>
                  <a:buChar char="▪"/>
                  <a:defRPr/>
                </a:pPr>
                <a:r>
                  <a:rPr lang="en-US" altLang="ko-KR" sz="1150" dirty="0">
                    <a:latin typeface="+mn-lt"/>
                    <a:cs typeface="Arial" panose="020B0604020202020204" pitchFamily="34" charset="0"/>
                  </a:rPr>
                  <a:t>Purchase Structure</a:t>
                </a:r>
              </a:p>
              <a:p>
                <a:pPr marL="183030" lvl="1" indent="-181409" defTabSz="913526">
                  <a:spcBef>
                    <a:spcPts val="300"/>
                  </a:spcBef>
                  <a:buClr>
                    <a:schemeClr val="tx2"/>
                  </a:buClr>
                  <a:buSzPct val="125000"/>
                  <a:buFont typeface="Arial" charset="0"/>
                  <a:buChar char="▪"/>
                  <a:defRPr/>
                </a:pPr>
                <a:r>
                  <a:rPr lang="en-US" altLang="ko-KR" sz="1150" i="1" dirty="0">
                    <a:latin typeface="+mn-lt"/>
                    <a:cs typeface="Arial" panose="020B0604020202020204" pitchFamily="34" charset="0"/>
                  </a:rPr>
                  <a:t>Machine Learning and Advanced Analytics</a:t>
                </a:r>
              </a:p>
              <a:p>
                <a:pPr marL="183030" lvl="1" indent="-181409" defTabSz="913526">
                  <a:spcBef>
                    <a:spcPts val="300"/>
                  </a:spcBef>
                  <a:buClr>
                    <a:schemeClr val="tx2"/>
                  </a:buClr>
                  <a:buSzPct val="125000"/>
                  <a:buFont typeface="Arial" charset="0"/>
                  <a:buChar char="▪"/>
                  <a:defRPr/>
                </a:pPr>
                <a:endParaRPr lang="en-US" altLang="ko-KR" sz="1150" dirty="0">
                  <a:latin typeface="+mn-lt"/>
                  <a:cs typeface="Arial" panose="020B0604020202020204" pitchFamily="34" charset="0"/>
                </a:endParaRPr>
              </a:p>
              <a:p>
                <a:pPr marL="183030" lvl="1" indent="-181409" defTabSz="913526">
                  <a:spcBef>
                    <a:spcPts val="300"/>
                  </a:spcBef>
                  <a:buClr>
                    <a:schemeClr val="tx2"/>
                  </a:buClr>
                  <a:buSzPct val="125000"/>
                  <a:buFont typeface="Arial" charset="0"/>
                  <a:buChar char="▪"/>
                  <a:defRPr/>
                </a:pPr>
                <a:endParaRPr lang="en-US" altLang="ko-KR" sz="1150" dirty="0">
                  <a:latin typeface="+mn-lt"/>
                  <a:cs typeface="Arial" panose="020B0604020202020204" pitchFamily="34" charset="0"/>
                </a:endParaRPr>
              </a:p>
              <a:p>
                <a:pPr marL="183030" lvl="1" indent="-181409" defTabSz="913526">
                  <a:spcBef>
                    <a:spcPts val="300"/>
                  </a:spcBef>
                  <a:buClr>
                    <a:schemeClr val="tx2"/>
                  </a:buClr>
                  <a:buSzPct val="125000"/>
                  <a:buFont typeface="Arial" charset="0"/>
                  <a:buChar char="▪"/>
                  <a:defRPr/>
                </a:pPr>
                <a:endParaRPr lang="en-US" altLang="ko-KR" sz="1150" dirty="0">
                  <a:latin typeface="+mn-lt"/>
                  <a:cs typeface="Arial" panose="020B0604020202020204" pitchFamily="34" charset="0"/>
                </a:endParaRPr>
              </a:p>
            </p:txBody>
          </p:sp>
          <p:sp>
            <p:nvSpPr>
              <p:cNvPr id="42" name="Rectangle 23">
                <a:extLst>
                  <a:ext uri="{FF2B5EF4-FFF2-40B4-BE49-F238E27FC236}">
                    <a16:creationId xmlns:a16="http://schemas.microsoft.com/office/drawing/2014/main" id="{F54E450B-E90E-45B9-9F04-3276175F34A3}"/>
                  </a:ext>
                </a:extLst>
              </p:cNvPr>
              <p:cNvSpPr>
                <a:spLocks noChangeArrowheads="1"/>
              </p:cNvSpPr>
              <p:nvPr/>
            </p:nvSpPr>
            <p:spPr bwMode="gray">
              <a:xfrm>
                <a:off x="178474" y="5376390"/>
                <a:ext cx="2257079" cy="1654299"/>
              </a:xfrm>
              <a:prstGeom prst="rect">
                <a:avLst/>
              </a:prstGeom>
              <a:noFill/>
              <a:ln w="15875">
                <a:noFill/>
                <a:miter lim="800000"/>
                <a:headEnd/>
                <a:tailEnd/>
              </a:ln>
            </p:spPr>
            <p:txBody>
              <a:bodyPr lIns="0" tIns="0" rIns="0" bIns="0">
                <a:spAutoFit/>
              </a:bodyPr>
              <a:lstStyle/>
              <a:p>
                <a:pPr defTabSz="895350">
                  <a:spcBef>
                    <a:spcPts val="300"/>
                  </a:spcBef>
                  <a:buClr>
                    <a:schemeClr val="tx2"/>
                  </a:buClr>
                </a:pPr>
                <a:r>
                  <a:rPr lang="en-US" sz="1200" b="1" dirty="0">
                    <a:solidFill>
                      <a:schemeClr val="accent4"/>
                    </a:solidFill>
                    <a:latin typeface="+mn-lt"/>
                    <a:ea typeface="Gulim" pitchFamily="34" charset="-127"/>
                  </a:rPr>
                  <a:t>Tools expertise:</a:t>
                </a:r>
                <a:endParaRPr lang="en-US" sz="1200" dirty="0">
                  <a:solidFill>
                    <a:schemeClr val="accent4"/>
                  </a:solidFill>
                  <a:latin typeface="+mn-lt"/>
                </a:endParaRPr>
              </a:p>
              <a:p>
                <a:pPr marL="183030" lvl="1" indent="-181409" defTabSz="913526">
                  <a:spcBef>
                    <a:spcPts val="300"/>
                  </a:spcBef>
                  <a:buClr>
                    <a:schemeClr val="tx2"/>
                  </a:buClr>
                  <a:buSzPct val="125000"/>
                  <a:buFont typeface="Arial" charset="0"/>
                  <a:buChar char="▪"/>
                  <a:defRPr/>
                </a:pPr>
                <a:r>
                  <a:rPr lang="en-US" sz="1150" dirty="0">
                    <a:latin typeface="+mn-lt"/>
                    <a:cs typeface="Arial" panose="020B0604020202020204" pitchFamily="34" charset="0"/>
                  </a:rPr>
                  <a:t>R , Python , SAS, SQL</a:t>
                </a:r>
              </a:p>
              <a:p>
                <a:pPr marL="183030" lvl="1" indent="-181409" defTabSz="913526">
                  <a:spcBef>
                    <a:spcPts val="300"/>
                  </a:spcBef>
                  <a:buClr>
                    <a:schemeClr val="tx2"/>
                  </a:buClr>
                  <a:buSzPct val="125000"/>
                  <a:buFont typeface="Arial" charset="0"/>
                  <a:buChar char="▪"/>
                  <a:defRPr/>
                </a:pPr>
                <a:r>
                  <a:rPr lang="en-US" sz="1150" dirty="0">
                    <a:latin typeface="+mn-lt"/>
                    <a:cs typeface="Arial" panose="020B0604020202020204" pitchFamily="34" charset="0"/>
                  </a:rPr>
                  <a:t>Hadoop &amp; Spark</a:t>
                </a:r>
              </a:p>
              <a:p>
                <a:pPr marL="183030" lvl="1" indent="-181409" defTabSz="913526">
                  <a:spcBef>
                    <a:spcPts val="300"/>
                  </a:spcBef>
                  <a:buClr>
                    <a:schemeClr val="tx2"/>
                  </a:buClr>
                  <a:buSzPct val="125000"/>
                  <a:buFont typeface="Arial" charset="0"/>
                  <a:buChar char="▪"/>
                  <a:defRPr/>
                </a:pPr>
                <a:r>
                  <a:rPr lang="en-US" sz="1150" dirty="0">
                    <a:latin typeface="+mn-lt"/>
                    <a:cs typeface="Arial" panose="020B0604020202020204" pitchFamily="34" charset="0"/>
                  </a:rPr>
                  <a:t>Alteryx, Excel</a:t>
                </a:r>
              </a:p>
              <a:p>
                <a:pPr marL="183030" lvl="1" indent="-181409" defTabSz="913526">
                  <a:spcBef>
                    <a:spcPts val="300"/>
                  </a:spcBef>
                  <a:buClr>
                    <a:schemeClr val="tx2"/>
                  </a:buClr>
                  <a:buSzPct val="125000"/>
                  <a:buFont typeface="Arial" charset="0"/>
                  <a:buChar char="▪"/>
                  <a:defRPr/>
                </a:pPr>
                <a:r>
                  <a:rPr lang="en-US" sz="1150" dirty="0">
                    <a:latin typeface="+mn-lt"/>
                    <a:cs typeface="Arial" panose="020B0604020202020204" pitchFamily="34" charset="0"/>
                  </a:rPr>
                  <a:t>Cloud platforms :  Git and  AWS framework</a:t>
                </a:r>
              </a:p>
              <a:p>
                <a:pPr marL="1621" lvl="1" defTabSz="913526">
                  <a:spcBef>
                    <a:spcPts val="300"/>
                  </a:spcBef>
                  <a:buClr>
                    <a:schemeClr val="tx2"/>
                  </a:buClr>
                  <a:buSzPct val="125000"/>
                  <a:defRPr/>
                </a:pPr>
                <a:endParaRPr lang="en-US" sz="1150" dirty="0">
                  <a:latin typeface="+mn-lt"/>
                  <a:cs typeface="Arial" panose="020B0604020202020204" pitchFamily="34" charset="0"/>
                </a:endParaRPr>
              </a:p>
              <a:p>
                <a:pPr marL="1621" lvl="1" defTabSz="913526">
                  <a:spcBef>
                    <a:spcPts val="300"/>
                  </a:spcBef>
                  <a:buClr>
                    <a:schemeClr val="tx2"/>
                  </a:buClr>
                  <a:buSzPct val="125000"/>
                  <a:defRPr/>
                </a:pPr>
                <a:endParaRPr lang="en-US" sz="1150" dirty="0">
                  <a:latin typeface="+mn-lt"/>
                  <a:cs typeface="Arial" panose="020B0604020202020204" pitchFamily="34" charset="0"/>
                </a:endParaRPr>
              </a:p>
            </p:txBody>
          </p:sp>
        </p:grpSp>
        <p:grpSp>
          <p:nvGrpSpPr>
            <p:cNvPr id="40" name="Group 39"/>
            <p:cNvGrpSpPr/>
            <p:nvPr/>
          </p:nvGrpSpPr>
          <p:grpSpPr>
            <a:xfrm>
              <a:off x="2505559" y="867414"/>
              <a:ext cx="6232041" cy="2394238"/>
              <a:chOff x="2505559" y="847512"/>
              <a:chExt cx="6232041" cy="2394238"/>
            </a:xfrm>
          </p:grpSpPr>
          <p:sp>
            <p:nvSpPr>
              <p:cNvPr id="86" name="TextBox 85"/>
              <p:cNvSpPr txBox="1">
                <a:spLocks/>
              </p:cNvSpPr>
              <p:nvPr/>
            </p:nvSpPr>
            <p:spPr>
              <a:xfrm>
                <a:off x="2898288" y="1039331"/>
                <a:ext cx="5839312" cy="22024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342900" lvl="0" indent="-342900" defTabSz="895350">
                  <a:buClr>
                    <a:schemeClr val="tx2"/>
                  </a:buClr>
                  <a:defRPr>
                    <a:latin typeface="+mn-lt"/>
                    <a:cs typeface="+mn-cs"/>
                  </a:defRPr>
                </a:lvl1pPr>
                <a:lvl2pPr marL="193675" lvl="1" indent="-192088" defTabSz="895350">
                  <a:buClr>
                    <a:schemeClr val="tx2"/>
                  </a:buClr>
                  <a:buSzPct val="125000"/>
                  <a:buFont typeface="Arial" panose="020B0604020202020204" pitchFamily="34" charset="0"/>
                  <a:buChar char="▪"/>
                  <a:defRPr>
                    <a:latin typeface="+mn-lt"/>
                    <a:cs typeface="+mn-cs"/>
                  </a:defRPr>
                </a:lvl2pPr>
                <a:lvl3pPr marL="457200" lvl="2" indent="-261938" defTabSz="895350">
                  <a:buClr>
                    <a:schemeClr val="tx2"/>
                  </a:buClr>
                  <a:buSzPct val="120000"/>
                  <a:buFont typeface="Arial" panose="020B0604020202020204" pitchFamily="34" charset="0"/>
                  <a:buChar char="–"/>
                  <a:defRPr>
                    <a:latin typeface="+mn-lt"/>
                    <a:cs typeface="+mn-cs"/>
                  </a:defRPr>
                </a:lvl3pPr>
                <a:lvl4pPr marL="614363" lvl="3" indent="-155575" defTabSz="895350">
                  <a:buClr>
                    <a:schemeClr val="tx2"/>
                  </a:buClr>
                  <a:buSzPct val="120000"/>
                  <a:buFont typeface="Arial" panose="020B0604020202020204" pitchFamily="34" charset="0"/>
                  <a:buChar char="▫"/>
                  <a:defRPr>
                    <a:latin typeface="+mn-lt"/>
                    <a:cs typeface="+mn-cs"/>
                  </a:defRPr>
                </a:lvl4pPr>
                <a:lvl5pPr marL="746125" lvl="4" indent="-130175" defTabSz="895350">
                  <a:buClr>
                    <a:schemeClr val="tx2"/>
                  </a:buClr>
                  <a:buSzPct val="89000"/>
                  <a:buFont typeface="Arial" panose="020B0604020202020204" pitchFamily="34" charset="0"/>
                  <a:buChar char="-"/>
                  <a:defRPr>
                    <a:latin typeface="+mn-lt"/>
                    <a:cs typeface="+mn-cs"/>
                  </a:defRPr>
                </a:lvl5pPr>
                <a:lvl6pPr marL="1203325" indent="-130175" defTabSz="895350" fontAlgn="base">
                  <a:spcBef>
                    <a:spcPct val="0"/>
                  </a:spcBef>
                  <a:spcAft>
                    <a:spcPct val="0"/>
                  </a:spcAft>
                  <a:buClr>
                    <a:schemeClr val="tx2"/>
                  </a:buClr>
                  <a:buSzPct val="89000"/>
                  <a:buFont typeface="Arial" charset="0"/>
                  <a:buChar char="-"/>
                  <a:defRPr>
                    <a:latin typeface="+mn-lt"/>
                    <a:cs typeface="+mn-cs"/>
                  </a:defRPr>
                </a:lvl6pPr>
                <a:lvl7pPr marL="1660525" indent="-130175" defTabSz="895350" fontAlgn="base">
                  <a:spcBef>
                    <a:spcPct val="0"/>
                  </a:spcBef>
                  <a:spcAft>
                    <a:spcPct val="0"/>
                  </a:spcAft>
                  <a:buClr>
                    <a:schemeClr val="tx2"/>
                  </a:buClr>
                  <a:buSzPct val="89000"/>
                  <a:buFont typeface="Arial" charset="0"/>
                  <a:buChar char="-"/>
                  <a:defRPr>
                    <a:latin typeface="+mn-lt"/>
                    <a:cs typeface="+mn-cs"/>
                  </a:defRPr>
                </a:lvl7pPr>
                <a:lvl8pPr marL="2117725" indent="-130175" defTabSz="895350" fontAlgn="base">
                  <a:spcBef>
                    <a:spcPct val="0"/>
                  </a:spcBef>
                  <a:spcAft>
                    <a:spcPct val="0"/>
                  </a:spcAft>
                  <a:buClr>
                    <a:schemeClr val="tx2"/>
                  </a:buClr>
                  <a:buSzPct val="89000"/>
                  <a:buFont typeface="Arial" charset="0"/>
                  <a:buChar char="-"/>
                  <a:defRPr>
                    <a:latin typeface="+mn-lt"/>
                    <a:cs typeface="+mn-cs"/>
                  </a:defRPr>
                </a:lvl8pPr>
                <a:lvl9pPr marL="2574925" indent="-130175" defTabSz="895350" fontAlgn="base">
                  <a:spcBef>
                    <a:spcPct val="0"/>
                  </a:spcBef>
                  <a:spcAft>
                    <a:spcPct val="0"/>
                  </a:spcAft>
                  <a:buClr>
                    <a:schemeClr val="tx2"/>
                  </a:buClr>
                  <a:buSzPct val="89000"/>
                  <a:buFont typeface="Arial" charset="0"/>
                  <a:buChar char="-"/>
                  <a:defRPr>
                    <a:latin typeface="+mn-lt"/>
                    <a:cs typeface="+mn-cs"/>
                  </a:defRPr>
                </a:lvl9pPr>
              </a:lstStyle>
              <a:p>
                <a:pPr lvl="1">
                  <a:spcBef>
                    <a:spcPts val="300"/>
                  </a:spcBef>
                  <a:spcAft>
                    <a:spcPts val="0"/>
                  </a:spcAft>
                </a:pPr>
                <a:r>
                  <a:rPr lang="en-US" sz="1150" dirty="0"/>
                  <a:t>Ajay joined McKinsey in Nov, 2019</a:t>
                </a:r>
              </a:p>
              <a:p>
                <a:pPr lvl="1">
                  <a:spcBef>
                    <a:spcPts val="300"/>
                  </a:spcBef>
                  <a:spcAft>
                    <a:spcPts val="0"/>
                  </a:spcAft>
                </a:pPr>
                <a:r>
                  <a:rPr lang="en-US" sz="1150" dirty="0"/>
                  <a:t>Prior to this, he was working with Ernst &amp; Young as an Senior Consultant in Financial Risk management team  ,specializing in credit risk modelling and analytic, before that he as also worked for Mastercard and Fractal Analytics on advanced analytics projects</a:t>
                </a:r>
              </a:p>
              <a:p>
                <a:pPr lvl="1">
                  <a:spcBef>
                    <a:spcPts val="300"/>
                  </a:spcBef>
                  <a:spcAft>
                    <a:spcPts val="0"/>
                  </a:spcAft>
                </a:pPr>
                <a:r>
                  <a:rPr lang="en-US" sz="1150" dirty="0"/>
                  <a:t>His area of focus is developing data driven solution for the clients , he has worked in banking domain to develop credit risk scorecards for the retail portfolios and forecast Expected Credit loss for the loans. He is also familiar with the Basel 1, II and III regulations. Apart from banking domain he also has very good knowledge of payment industry from his Mastercard tenure where he worked on consumer behavior and analytics, also in Fractal Analytics he has worked on pricing Analytics. He has extensively worked on big data tools like R, python , SAS, SQL, Hadoop &amp; spark. He is also familiar with various cloud based platforms like git and AWS</a:t>
                </a:r>
                <a:endParaRPr lang="en-US" altLang="ko-KR" sz="1150" dirty="0">
                  <a:ea typeface="Gulim" pitchFamily="34" charset="-127"/>
                </a:endParaRPr>
              </a:p>
              <a:p>
                <a:pPr lvl="1">
                  <a:spcBef>
                    <a:spcPts val="300"/>
                  </a:spcBef>
                  <a:spcAft>
                    <a:spcPts val="0"/>
                  </a:spcAft>
                </a:pPr>
                <a:endParaRPr lang="en-US" altLang="ko-KR" sz="1150" dirty="0">
                  <a:ea typeface="Gulim" pitchFamily="34" charset="-127"/>
                </a:endParaRPr>
              </a:p>
              <a:p>
                <a:pPr lvl="1">
                  <a:spcBef>
                    <a:spcPts val="300"/>
                  </a:spcBef>
                  <a:spcAft>
                    <a:spcPts val="0"/>
                  </a:spcAft>
                </a:pPr>
                <a:endParaRPr lang="en-US" sz="1200" dirty="0"/>
              </a:p>
            </p:txBody>
          </p:sp>
          <p:sp>
            <p:nvSpPr>
              <p:cNvPr id="87" name="Rectangle 86"/>
              <p:cNvSpPr>
                <a:spLocks/>
              </p:cNvSpPr>
              <p:nvPr/>
            </p:nvSpPr>
            <p:spPr>
              <a:xfrm>
                <a:off x="2898288" y="876916"/>
                <a:ext cx="5839312" cy="184666"/>
              </a:xfrm>
              <a:prstGeom prst="rect">
                <a:avLst/>
              </a:prstGeom>
            </p:spPr>
            <p:txBody>
              <a:bodyPr wrap="square" lIns="0" tIns="0" rIns="0" bIns="0">
                <a:noAutofit/>
              </a:bodyPr>
              <a:lstStyle/>
              <a:p>
                <a:pPr>
                  <a:spcBef>
                    <a:spcPts val="300"/>
                  </a:spcBef>
                  <a:spcAft>
                    <a:spcPts val="0"/>
                  </a:spcAft>
                  <a:buClr>
                    <a:schemeClr val="bg1"/>
                  </a:buClr>
                </a:pPr>
                <a:r>
                  <a:rPr lang="en-US" sz="1200" b="1" dirty="0">
                    <a:solidFill>
                      <a:schemeClr val="accent4"/>
                    </a:solidFill>
                    <a:latin typeface="+mn-lt"/>
                  </a:rPr>
                  <a:t>Introduction</a:t>
                </a:r>
              </a:p>
            </p:txBody>
          </p:sp>
          <p:grpSp>
            <p:nvGrpSpPr>
              <p:cNvPr id="17" name="Group 16"/>
              <p:cNvGrpSpPr/>
              <p:nvPr/>
            </p:nvGrpSpPr>
            <p:grpSpPr>
              <a:xfrm>
                <a:off x="2505559" y="847512"/>
                <a:ext cx="290994" cy="293972"/>
                <a:chOff x="2657989" y="767807"/>
                <a:chExt cx="416364" cy="420624"/>
              </a:xfrm>
            </p:grpSpPr>
            <p:sp>
              <p:nvSpPr>
                <p:cNvPr id="92" name="Oval 91"/>
                <p:cNvSpPr/>
                <p:nvPr/>
              </p:nvSpPr>
              <p:spPr>
                <a:xfrm>
                  <a:off x="2657989" y="767807"/>
                  <a:ext cx="416364" cy="420624"/>
                </a:xfrm>
                <a:prstGeom prst="ellipse">
                  <a:avLst/>
                </a:prstGeom>
                <a:solidFill>
                  <a:schemeClr val="bg1"/>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spcAft>
                      <a:spcPts val="0"/>
                    </a:spcAft>
                  </a:pPr>
                  <a:endParaRPr lang="en-US" sz="1200" dirty="0">
                    <a:solidFill>
                      <a:schemeClr val="tx1"/>
                    </a:solidFill>
                  </a:endParaRPr>
                </a:p>
              </p:txBody>
            </p:sp>
            <p:sp>
              <p:nvSpPr>
                <p:cNvPr id="93" name="Freeform 20"/>
                <p:cNvSpPr>
                  <a:spLocks noEditPoints="1"/>
                </p:cNvSpPr>
                <p:nvPr/>
              </p:nvSpPr>
              <p:spPr bwMode="auto">
                <a:xfrm>
                  <a:off x="2731004" y="849407"/>
                  <a:ext cx="270335" cy="257424"/>
                </a:xfrm>
                <a:custGeom>
                  <a:avLst/>
                  <a:gdLst>
                    <a:gd name="T0" fmla="*/ 271 w 282"/>
                    <a:gd name="T1" fmla="*/ 201 h 266"/>
                    <a:gd name="T2" fmla="*/ 271 w 282"/>
                    <a:gd name="T3" fmla="*/ 200 h 266"/>
                    <a:gd name="T4" fmla="*/ 205 w 282"/>
                    <a:gd name="T5" fmla="*/ 168 h 266"/>
                    <a:gd name="T6" fmla="*/ 77 w 282"/>
                    <a:gd name="T7" fmla="*/ 168 h 266"/>
                    <a:gd name="T8" fmla="*/ 7 w 282"/>
                    <a:gd name="T9" fmla="*/ 200 h 266"/>
                    <a:gd name="T10" fmla="*/ 0 w 282"/>
                    <a:gd name="T11" fmla="*/ 266 h 266"/>
                    <a:gd name="T12" fmla="*/ 155 w 282"/>
                    <a:gd name="T13" fmla="*/ 266 h 266"/>
                    <a:gd name="T14" fmla="*/ 271 w 282"/>
                    <a:gd name="T15" fmla="*/ 201 h 266"/>
                    <a:gd name="T16" fmla="*/ 97 w 282"/>
                    <a:gd name="T17" fmla="*/ 136 h 266"/>
                    <a:gd name="T18" fmla="*/ 99 w 282"/>
                    <a:gd name="T19" fmla="*/ 156 h 266"/>
                    <a:gd name="T20" fmla="*/ 80 w 282"/>
                    <a:gd name="T21" fmla="*/ 167 h 266"/>
                    <a:gd name="T22" fmla="*/ 201 w 282"/>
                    <a:gd name="T23" fmla="*/ 167 h 266"/>
                    <a:gd name="T24" fmla="*/ 194 w 282"/>
                    <a:gd name="T25" fmla="*/ 164 h 266"/>
                    <a:gd name="T26" fmla="*/ 183 w 282"/>
                    <a:gd name="T27" fmla="*/ 138 h 266"/>
                    <a:gd name="T28" fmla="*/ 193 w 282"/>
                    <a:gd name="T29" fmla="*/ 108 h 266"/>
                    <a:gd name="T30" fmla="*/ 203 w 282"/>
                    <a:gd name="T31" fmla="*/ 75 h 266"/>
                    <a:gd name="T32" fmla="*/ 188 w 282"/>
                    <a:gd name="T33" fmla="*/ 22 h 266"/>
                    <a:gd name="T34" fmla="*/ 78 w 282"/>
                    <a:gd name="T35" fmla="*/ 54 h 266"/>
                    <a:gd name="T36" fmla="*/ 77 w 282"/>
                    <a:gd name="T37" fmla="*/ 79 h 266"/>
                    <a:gd name="T38" fmla="*/ 190 w 282"/>
                    <a:gd name="T39" fmla="*/ 168 h 266"/>
                    <a:gd name="T40" fmla="*/ 141 w 282"/>
                    <a:gd name="T41" fmla="*/ 198 h 266"/>
                    <a:gd name="T42" fmla="*/ 104 w 282"/>
                    <a:gd name="T43" fmla="*/ 158 h 266"/>
                    <a:gd name="T44" fmla="*/ 106 w 282"/>
                    <a:gd name="T45" fmla="*/ 147 h 266"/>
                    <a:gd name="T46" fmla="*/ 141 w 282"/>
                    <a:gd name="T47" fmla="*/ 163 h 266"/>
                    <a:gd name="T48" fmla="*/ 176 w 282"/>
                    <a:gd name="T49" fmla="*/ 146 h 266"/>
                    <a:gd name="T50" fmla="*/ 177 w 282"/>
                    <a:gd name="T51" fmla="*/ 158 h 266"/>
                    <a:gd name="T52" fmla="*/ 107 w 282"/>
                    <a:gd name="T53" fmla="*/ 36 h 266"/>
                    <a:gd name="T54" fmla="*/ 174 w 282"/>
                    <a:gd name="T55" fmla="*/ 36 h 266"/>
                    <a:gd name="T56" fmla="*/ 187 w 282"/>
                    <a:gd name="T57" fmla="*/ 72 h 266"/>
                    <a:gd name="T58" fmla="*/ 145 w 282"/>
                    <a:gd name="T59" fmla="*/ 76 h 266"/>
                    <a:gd name="T60" fmla="*/ 137 w 282"/>
                    <a:gd name="T61" fmla="*/ 76 h 266"/>
                    <a:gd name="T62" fmla="*/ 93 w 282"/>
                    <a:gd name="T63" fmla="*/ 73 h 266"/>
                    <a:gd name="T64" fmla="*/ 183 w 282"/>
                    <a:gd name="T65" fmla="*/ 91 h 266"/>
                    <a:gd name="T66" fmla="*/ 152 w 282"/>
                    <a:gd name="T67" fmla="*/ 94 h 266"/>
                    <a:gd name="T68" fmla="*/ 184 w 282"/>
                    <a:gd name="T69" fmla="*/ 77 h 266"/>
                    <a:gd name="T70" fmla="*/ 130 w 282"/>
                    <a:gd name="T71" fmla="*/ 94 h 266"/>
                    <a:gd name="T72" fmla="*/ 100 w 282"/>
                    <a:gd name="T73" fmla="*/ 91 h 266"/>
                    <a:gd name="T74" fmla="*/ 132 w 282"/>
                    <a:gd name="T75" fmla="*/ 80 h 266"/>
                    <a:gd name="T76" fmla="*/ 81 w 282"/>
                    <a:gd name="T77" fmla="*/ 80 h 266"/>
                    <a:gd name="T78" fmla="*/ 84 w 282"/>
                    <a:gd name="T79" fmla="*/ 74 h 266"/>
                    <a:gd name="T80" fmla="*/ 92 w 282"/>
                    <a:gd name="T81" fmla="*/ 96 h 266"/>
                    <a:gd name="T82" fmla="*/ 96 w 282"/>
                    <a:gd name="T83" fmla="*/ 97 h 266"/>
                    <a:gd name="T84" fmla="*/ 118 w 282"/>
                    <a:gd name="T85" fmla="*/ 102 h 266"/>
                    <a:gd name="T86" fmla="*/ 136 w 282"/>
                    <a:gd name="T87" fmla="*/ 97 h 266"/>
                    <a:gd name="T88" fmla="*/ 141 w 282"/>
                    <a:gd name="T89" fmla="*/ 86 h 266"/>
                    <a:gd name="T90" fmla="*/ 141 w 282"/>
                    <a:gd name="T91" fmla="*/ 86 h 266"/>
                    <a:gd name="T92" fmla="*/ 146 w 282"/>
                    <a:gd name="T93" fmla="*/ 97 h 266"/>
                    <a:gd name="T94" fmla="*/ 164 w 282"/>
                    <a:gd name="T95" fmla="*/ 102 h 266"/>
                    <a:gd name="T96" fmla="*/ 186 w 282"/>
                    <a:gd name="T97" fmla="*/ 96 h 266"/>
                    <a:gd name="T98" fmla="*/ 191 w 282"/>
                    <a:gd name="T99" fmla="*/ 95 h 266"/>
                    <a:gd name="T100" fmla="*/ 197 w 282"/>
                    <a:gd name="T101" fmla="*/ 74 h 266"/>
                    <a:gd name="T102" fmla="*/ 200 w 282"/>
                    <a:gd name="T103" fmla="*/ 80 h 266"/>
                    <a:gd name="T104" fmla="*/ 192 w 282"/>
                    <a:gd name="T105" fmla="*/ 103 h 266"/>
                    <a:gd name="T106" fmla="*/ 189 w 282"/>
                    <a:gd name="T107" fmla="*/ 106 h 266"/>
                    <a:gd name="T108" fmla="*/ 189 w 282"/>
                    <a:gd name="T109" fmla="*/ 107 h 266"/>
                    <a:gd name="T110" fmla="*/ 141 w 282"/>
                    <a:gd name="T111" fmla="*/ 158 h 266"/>
                    <a:gd name="T112" fmla="*/ 140 w 282"/>
                    <a:gd name="T113" fmla="*/ 158 h 266"/>
                    <a:gd name="T114" fmla="*/ 93 w 282"/>
                    <a:gd name="T115" fmla="*/ 107 h 266"/>
                    <a:gd name="T116" fmla="*/ 91 w 282"/>
                    <a:gd name="T117" fmla="*/ 105 h 266"/>
                    <a:gd name="T118" fmla="*/ 81 w 282"/>
                    <a:gd name="T119" fmla="*/ 84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2" h="266">
                      <a:moveTo>
                        <a:pt x="271" y="201"/>
                      </a:moveTo>
                      <a:cubicBezTo>
                        <a:pt x="271" y="201"/>
                        <a:pt x="271" y="201"/>
                        <a:pt x="271" y="201"/>
                      </a:cubicBezTo>
                      <a:cubicBezTo>
                        <a:pt x="271" y="200"/>
                        <a:pt x="271" y="200"/>
                        <a:pt x="271" y="200"/>
                      </a:cubicBezTo>
                      <a:cubicBezTo>
                        <a:pt x="271" y="200"/>
                        <a:pt x="271" y="200"/>
                        <a:pt x="271" y="200"/>
                      </a:cubicBezTo>
                      <a:cubicBezTo>
                        <a:pt x="269" y="195"/>
                        <a:pt x="263" y="189"/>
                        <a:pt x="259" y="188"/>
                      </a:cubicBezTo>
                      <a:cubicBezTo>
                        <a:pt x="242" y="182"/>
                        <a:pt x="218" y="173"/>
                        <a:pt x="205" y="168"/>
                      </a:cubicBezTo>
                      <a:cubicBezTo>
                        <a:pt x="190" y="192"/>
                        <a:pt x="167" y="207"/>
                        <a:pt x="141" y="207"/>
                      </a:cubicBezTo>
                      <a:cubicBezTo>
                        <a:pt x="114" y="207"/>
                        <a:pt x="91" y="192"/>
                        <a:pt x="77" y="168"/>
                      </a:cubicBezTo>
                      <a:cubicBezTo>
                        <a:pt x="62" y="173"/>
                        <a:pt x="36" y="182"/>
                        <a:pt x="19" y="188"/>
                      </a:cubicBezTo>
                      <a:cubicBezTo>
                        <a:pt x="15" y="189"/>
                        <a:pt x="8" y="195"/>
                        <a:pt x="7" y="200"/>
                      </a:cubicBezTo>
                      <a:cubicBezTo>
                        <a:pt x="6" y="200"/>
                        <a:pt x="6" y="200"/>
                        <a:pt x="6" y="200"/>
                      </a:cubicBezTo>
                      <a:cubicBezTo>
                        <a:pt x="3" y="211"/>
                        <a:pt x="3" y="224"/>
                        <a:pt x="0" y="266"/>
                      </a:cubicBezTo>
                      <a:cubicBezTo>
                        <a:pt x="126" y="266"/>
                        <a:pt x="126" y="266"/>
                        <a:pt x="126" y="266"/>
                      </a:cubicBezTo>
                      <a:cubicBezTo>
                        <a:pt x="155" y="266"/>
                        <a:pt x="155" y="266"/>
                        <a:pt x="155" y="266"/>
                      </a:cubicBezTo>
                      <a:cubicBezTo>
                        <a:pt x="282" y="266"/>
                        <a:pt x="282" y="266"/>
                        <a:pt x="282" y="266"/>
                      </a:cubicBezTo>
                      <a:cubicBezTo>
                        <a:pt x="278" y="219"/>
                        <a:pt x="273" y="207"/>
                        <a:pt x="271" y="201"/>
                      </a:cubicBezTo>
                      <a:close/>
                      <a:moveTo>
                        <a:pt x="88" y="108"/>
                      </a:moveTo>
                      <a:cubicBezTo>
                        <a:pt x="90" y="122"/>
                        <a:pt x="96" y="134"/>
                        <a:pt x="97" y="136"/>
                      </a:cubicBezTo>
                      <a:cubicBezTo>
                        <a:pt x="98" y="137"/>
                        <a:pt x="98" y="138"/>
                        <a:pt x="99" y="139"/>
                      </a:cubicBezTo>
                      <a:cubicBezTo>
                        <a:pt x="101" y="145"/>
                        <a:pt x="103" y="149"/>
                        <a:pt x="99" y="156"/>
                      </a:cubicBezTo>
                      <a:cubicBezTo>
                        <a:pt x="96" y="164"/>
                        <a:pt x="87" y="164"/>
                        <a:pt x="87" y="164"/>
                      </a:cubicBezTo>
                      <a:cubicBezTo>
                        <a:pt x="87" y="164"/>
                        <a:pt x="84" y="165"/>
                        <a:pt x="80" y="167"/>
                      </a:cubicBezTo>
                      <a:cubicBezTo>
                        <a:pt x="94" y="189"/>
                        <a:pt x="116" y="203"/>
                        <a:pt x="141" y="203"/>
                      </a:cubicBezTo>
                      <a:cubicBezTo>
                        <a:pt x="165" y="203"/>
                        <a:pt x="187" y="189"/>
                        <a:pt x="201" y="167"/>
                      </a:cubicBezTo>
                      <a:cubicBezTo>
                        <a:pt x="197" y="165"/>
                        <a:pt x="194" y="164"/>
                        <a:pt x="194" y="164"/>
                      </a:cubicBezTo>
                      <a:cubicBezTo>
                        <a:pt x="194" y="164"/>
                        <a:pt x="194" y="164"/>
                        <a:pt x="194" y="164"/>
                      </a:cubicBezTo>
                      <a:cubicBezTo>
                        <a:pt x="194" y="164"/>
                        <a:pt x="186" y="164"/>
                        <a:pt x="182" y="156"/>
                      </a:cubicBezTo>
                      <a:cubicBezTo>
                        <a:pt x="178" y="149"/>
                        <a:pt x="181" y="143"/>
                        <a:pt x="183" y="138"/>
                      </a:cubicBezTo>
                      <a:cubicBezTo>
                        <a:pt x="183" y="137"/>
                        <a:pt x="184" y="136"/>
                        <a:pt x="184" y="136"/>
                      </a:cubicBezTo>
                      <a:cubicBezTo>
                        <a:pt x="185" y="134"/>
                        <a:pt x="192" y="122"/>
                        <a:pt x="193" y="108"/>
                      </a:cubicBezTo>
                      <a:cubicBezTo>
                        <a:pt x="203" y="100"/>
                        <a:pt x="206" y="89"/>
                        <a:pt x="204" y="79"/>
                      </a:cubicBezTo>
                      <a:cubicBezTo>
                        <a:pt x="204" y="78"/>
                        <a:pt x="203" y="76"/>
                        <a:pt x="203" y="75"/>
                      </a:cubicBezTo>
                      <a:cubicBezTo>
                        <a:pt x="204" y="70"/>
                        <a:pt x="204" y="60"/>
                        <a:pt x="203" y="54"/>
                      </a:cubicBezTo>
                      <a:cubicBezTo>
                        <a:pt x="204" y="43"/>
                        <a:pt x="197" y="27"/>
                        <a:pt x="188" y="22"/>
                      </a:cubicBezTo>
                      <a:cubicBezTo>
                        <a:pt x="186" y="9"/>
                        <a:pt x="165" y="0"/>
                        <a:pt x="140" y="0"/>
                      </a:cubicBezTo>
                      <a:cubicBezTo>
                        <a:pt x="110" y="0"/>
                        <a:pt x="79" y="21"/>
                        <a:pt x="78" y="54"/>
                      </a:cubicBezTo>
                      <a:cubicBezTo>
                        <a:pt x="77" y="60"/>
                        <a:pt x="77" y="69"/>
                        <a:pt x="78" y="75"/>
                      </a:cubicBezTo>
                      <a:cubicBezTo>
                        <a:pt x="78" y="76"/>
                        <a:pt x="78" y="78"/>
                        <a:pt x="77" y="79"/>
                      </a:cubicBezTo>
                      <a:cubicBezTo>
                        <a:pt x="75" y="89"/>
                        <a:pt x="78" y="100"/>
                        <a:pt x="88" y="108"/>
                      </a:cubicBezTo>
                      <a:close/>
                      <a:moveTo>
                        <a:pt x="190" y="168"/>
                      </a:moveTo>
                      <a:cubicBezTo>
                        <a:pt x="190" y="168"/>
                        <a:pt x="190" y="168"/>
                        <a:pt x="190" y="168"/>
                      </a:cubicBezTo>
                      <a:cubicBezTo>
                        <a:pt x="179" y="186"/>
                        <a:pt x="161" y="198"/>
                        <a:pt x="141" y="198"/>
                      </a:cubicBezTo>
                      <a:cubicBezTo>
                        <a:pt x="120" y="198"/>
                        <a:pt x="102" y="186"/>
                        <a:pt x="91" y="168"/>
                      </a:cubicBezTo>
                      <a:cubicBezTo>
                        <a:pt x="99" y="165"/>
                        <a:pt x="104" y="158"/>
                        <a:pt x="104" y="158"/>
                      </a:cubicBezTo>
                      <a:cubicBezTo>
                        <a:pt x="106" y="155"/>
                        <a:pt x="106" y="149"/>
                        <a:pt x="106" y="147"/>
                      </a:cubicBezTo>
                      <a:cubicBezTo>
                        <a:pt x="106" y="147"/>
                        <a:pt x="106" y="147"/>
                        <a:pt x="106" y="147"/>
                      </a:cubicBezTo>
                      <a:cubicBezTo>
                        <a:pt x="110" y="151"/>
                        <a:pt x="114" y="155"/>
                        <a:pt x="117" y="157"/>
                      </a:cubicBezTo>
                      <a:cubicBezTo>
                        <a:pt x="124" y="163"/>
                        <a:pt x="133" y="163"/>
                        <a:pt x="141" y="163"/>
                      </a:cubicBezTo>
                      <a:cubicBezTo>
                        <a:pt x="149" y="163"/>
                        <a:pt x="157" y="163"/>
                        <a:pt x="164" y="157"/>
                      </a:cubicBezTo>
                      <a:cubicBezTo>
                        <a:pt x="168" y="155"/>
                        <a:pt x="172" y="150"/>
                        <a:pt x="176" y="146"/>
                      </a:cubicBezTo>
                      <a:cubicBezTo>
                        <a:pt x="175" y="149"/>
                        <a:pt x="176" y="155"/>
                        <a:pt x="177" y="158"/>
                      </a:cubicBezTo>
                      <a:cubicBezTo>
                        <a:pt x="177" y="158"/>
                        <a:pt x="177" y="158"/>
                        <a:pt x="177" y="158"/>
                      </a:cubicBezTo>
                      <a:cubicBezTo>
                        <a:pt x="177" y="158"/>
                        <a:pt x="182" y="165"/>
                        <a:pt x="190" y="168"/>
                      </a:cubicBezTo>
                      <a:close/>
                      <a:moveTo>
                        <a:pt x="107" y="36"/>
                      </a:moveTo>
                      <a:cubicBezTo>
                        <a:pt x="115" y="34"/>
                        <a:pt x="127" y="41"/>
                        <a:pt x="140" y="41"/>
                      </a:cubicBezTo>
                      <a:cubicBezTo>
                        <a:pt x="153" y="41"/>
                        <a:pt x="166" y="34"/>
                        <a:pt x="174" y="36"/>
                      </a:cubicBezTo>
                      <a:cubicBezTo>
                        <a:pt x="185" y="38"/>
                        <a:pt x="191" y="48"/>
                        <a:pt x="188" y="72"/>
                      </a:cubicBezTo>
                      <a:cubicBezTo>
                        <a:pt x="187" y="72"/>
                        <a:pt x="187" y="72"/>
                        <a:pt x="187" y="72"/>
                      </a:cubicBezTo>
                      <a:cubicBezTo>
                        <a:pt x="184" y="72"/>
                        <a:pt x="179" y="71"/>
                        <a:pt x="175" y="71"/>
                      </a:cubicBezTo>
                      <a:cubicBezTo>
                        <a:pt x="164" y="71"/>
                        <a:pt x="152" y="73"/>
                        <a:pt x="145" y="76"/>
                      </a:cubicBezTo>
                      <a:cubicBezTo>
                        <a:pt x="144" y="77"/>
                        <a:pt x="143" y="77"/>
                        <a:pt x="141" y="77"/>
                      </a:cubicBezTo>
                      <a:cubicBezTo>
                        <a:pt x="140" y="77"/>
                        <a:pt x="138" y="77"/>
                        <a:pt x="137" y="76"/>
                      </a:cubicBezTo>
                      <a:cubicBezTo>
                        <a:pt x="130" y="73"/>
                        <a:pt x="118" y="71"/>
                        <a:pt x="107" y="71"/>
                      </a:cubicBezTo>
                      <a:cubicBezTo>
                        <a:pt x="103" y="71"/>
                        <a:pt x="97" y="72"/>
                        <a:pt x="93" y="73"/>
                      </a:cubicBezTo>
                      <a:cubicBezTo>
                        <a:pt x="90" y="48"/>
                        <a:pt x="96" y="38"/>
                        <a:pt x="107" y="36"/>
                      </a:cubicBezTo>
                      <a:close/>
                      <a:moveTo>
                        <a:pt x="183" y="91"/>
                      </a:moveTo>
                      <a:cubicBezTo>
                        <a:pt x="181" y="94"/>
                        <a:pt x="173" y="97"/>
                        <a:pt x="164" y="97"/>
                      </a:cubicBezTo>
                      <a:cubicBezTo>
                        <a:pt x="157" y="97"/>
                        <a:pt x="152" y="95"/>
                        <a:pt x="152" y="94"/>
                      </a:cubicBezTo>
                      <a:cubicBezTo>
                        <a:pt x="149" y="89"/>
                        <a:pt x="149" y="84"/>
                        <a:pt x="150" y="80"/>
                      </a:cubicBezTo>
                      <a:cubicBezTo>
                        <a:pt x="158" y="77"/>
                        <a:pt x="176" y="76"/>
                        <a:pt x="184" y="77"/>
                      </a:cubicBezTo>
                      <a:cubicBezTo>
                        <a:pt x="185" y="84"/>
                        <a:pt x="185" y="87"/>
                        <a:pt x="183" y="91"/>
                      </a:cubicBezTo>
                      <a:close/>
                      <a:moveTo>
                        <a:pt x="130" y="94"/>
                      </a:moveTo>
                      <a:cubicBezTo>
                        <a:pt x="130" y="95"/>
                        <a:pt x="125" y="97"/>
                        <a:pt x="118" y="97"/>
                      </a:cubicBezTo>
                      <a:cubicBezTo>
                        <a:pt x="109" y="97"/>
                        <a:pt x="101" y="94"/>
                        <a:pt x="100" y="91"/>
                      </a:cubicBezTo>
                      <a:cubicBezTo>
                        <a:pt x="98" y="87"/>
                        <a:pt x="97" y="84"/>
                        <a:pt x="98" y="77"/>
                      </a:cubicBezTo>
                      <a:cubicBezTo>
                        <a:pt x="106" y="76"/>
                        <a:pt x="124" y="77"/>
                        <a:pt x="132" y="80"/>
                      </a:cubicBezTo>
                      <a:cubicBezTo>
                        <a:pt x="133" y="84"/>
                        <a:pt x="133" y="89"/>
                        <a:pt x="130" y="94"/>
                      </a:cubicBezTo>
                      <a:close/>
                      <a:moveTo>
                        <a:pt x="81" y="80"/>
                      </a:moveTo>
                      <a:cubicBezTo>
                        <a:pt x="82" y="77"/>
                        <a:pt x="83" y="75"/>
                        <a:pt x="84" y="74"/>
                      </a:cubicBezTo>
                      <a:cubicBezTo>
                        <a:pt x="84" y="74"/>
                        <a:pt x="84" y="74"/>
                        <a:pt x="84" y="74"/>
                      </a:cubicBezTo>
                      <a:cubicBezTo>
                        <a:pt x="85" y="74"/>
                        <a:pt x="86" y="75"/>
                        <a:pt x="87" y="75"/>
                      </a:cubicBezTo>
                      <a:cubicBezTo>
                        <a:pt x="86" y="76"/>
                        <a:pt x="92" y="96"/>
                        <a:pt x="92" y="96"/>
                      </a:cubicBezTo>
                      <a:cubicBezTo>
                        <a:pt x="95" y="100"/>
                        <a:pt x="95" y="100"/>
                        <a:pt x="95" y="100"/>
                      </a:cubicBezTo>
                      <a:cubicBezTo>
                        <a:pt x="95" y="100"/>
                        <a:pt x="95" y="99"/>
                        <a:pt x="96" y="97"/>
                      </a:cubicBezTo>
                      <a:cubicBezTo>
                        <a:pt x="96" y="97"/>
                        <a:pt x="96" y="96"/>
                        <a:pt x="96" y="95"/>
                      </a:cubicBezTo>
                      <a:cubicBezTo>
                        <a:pt x="100" y="101"/>
                        <a:pt x="110" y="102"/>
                        <a:pt x="118" y="102"/>
                      </a:cubicBezTo>
                      <a:cubicBezTo>
                        <a:pt x="118" y="102"/>
                        <a:pt x="118" y="102"/>
                        <a:pt x="118" y="102"/>
                      </a:cubicBezTo>
                      <a:cubicBezTo>
                        <a:pt x="122" y="102"/>
                        <a:pt x="132" y="102"/>
                        <a:pt x="136" y="97"/>
                      </a:cubicBezTo>
                      <a:cubicBezTo>
                        <a:pt x="137" y="93"/>
                        <a:pt x="138" y="90"/>
                        <a:pt x="138" y="86"/>
                      </a:cubicBezTo>
                      <a:cubicBezTo>
                        <a:pt x="140" y="86"/>
                        <a:pt x="141" y="86"/>
                        <a:pt x="141" y="86"/>
                      </a:cubicBezTo>
                      <a:cubicBezTo>
                        <a:pt x="141" y="86"/>
                        <a:pt x="141" y="86"/>
                        <a:pt x="141" y="86"/>
                      </a:cubicBezTo>
                      <a:cubicBezTo>
                        <a:pt x="141" y="86"/>
                        <a:pt x="141" y="86"/>
                        <a:pt x="141" y="86"/>
                      </a:cubicBezTo>
                      <a:cubicBezTo>
                        <a:pt x="142" y="86"/>
                        <a:pt x="142" y="86"/>
                        <a:pt x="144" y="86"/>
                      </a:cubicBezTo>
                      <a:cubicBezTo>
                        <a:pt x="144" y="90"/>
                        <a:pt x="145" y="93"/>
                        <a:pt x="146" y="97"/>
                      </a:cubicBezTo>
                      <a:cubicBezTo>
                        <a:pt x="150" y="102"/>
                        <a:pt x="160" y="102"/>
                        <a:pt x="164" y="102"/>
                      </a:cubicBezTo>
                      <a:cubicBezTo>
                        <a:pt x="164" y="102"/>
                        <a:pt x="164" y="102"/>
                        <a:pt x="164" y="102"/>
                      </a:cubicBezTo>
                      <a:cubicBezTo>
                        <a:pt x="172" y="102"/>
                        <a:pt x="181" y="101"/>
                        <a:pt x="186" y="96"/>
                      </a:cubicBezTo>
                      <a:cubicBezTo>
                        <a:pt x="186" y="96"/>
                        <a:pt x="186" y="96"/>
                        <a:pt x="186" y="96"/>
                      </a:cubicBezTo>
                      <a:cubicBezTo>
                        <a:pt x="187" y="98"/>
                        <a:pt x="187" y="100"/>
                        <a:pt x="187" y="100"/>
                      </a:cubicBezTo>
                      <a:cubicBezTo>
                        <a:pt x="191" y="95"/>
                        <a:pt x="191" y="95"/>
                        <a:pt x="191" y="95"/>
                      </a:cubicBezTo>
                      <a:cubicBezTo>
                        <a:pt x="191" y="95"/>
                        <a:pt x="195" y="76"/>
                        <a:pt x="195" y="75"/>
                      </a:cubicBezTo>
                      <a:cubicBezTo>
                        <a:pt x="196" y="75"/>
                        <a:pt x="196" y="74"/>
                        <a:pt x="197" y="74"/>
                      </a:cubicBezTo>
                      <a:cubicBezTo>
                        <a:pt x="197" y="74"/>
                        <a:pt x="197" y="74"/>
                        <a:pt x="197" y="74"/>
                      </a:cubicBezTo>
                      <a:cubicBezTo>
                        <a:pt x="198" y="75"/>
                        <a:pt x="200" y="77"/>
                        <a:pt x="200" y="80"/>
                      </a:cubicBezTo>
                      <a:cubicBezTo>
                        <a:pt x="200" y="81"/>
                        <a:pt x="201" y="83"/>
                        <a:pt x="201" y="84"/>
                      </a:cubicBezTo>
                      <a:cubicBezTo>
                        <a:pt x="201" y="91"/>
                        <a:pt x="198" y="97"/>
                        <a:pt x="192" y="103"/>
                      </a:cubicBezTo>
                      <a:cubicBezTo>
                        <a:pt x="190" y="105"/>
                        <a:pt x="190" y="105"/>
                        <a:pt x="190" y="105"/>
                      </a:cubicBezTo>
                      <a:cubicBezTo>
                        <a:pt x="189" y="106"/>
                        <a:pt x="189" y="106"/>
                        <a:pt x="189" y="106"/>
                      </a:cubicBezTo>
                      <a:cubicBezTo>
                        <a:pt x="189" y="106"/>
                        <a:pt x="189" y="106"/>
                        <a:pt x="189" y="106"/>
                      </a:cubicBezTo>
                      <a:cubicBezTo>
                        <a:pt x="189" y="107"/>
                        <a:pt x="189" y="107"/>
                        <a:pt x="189" y="107"/>
                      </a:cubicBezTo>
                      <a:cubicBezTo>
                        <a:pt x="187" y="121"/>
                        <a:pt x="183" y="133"/>
                        <a:pt x="174" y="141"/>
                      </a:cubicBezTo>
                      <a:cubicBezTo>
                        <a:pt x="157" y="158"/>
                        <a:pt x="151" y="158"/>
                        <a:pt x="141" y="158"/>
                      </a:cubicBezTo>
                      <a:cubicBezTo>
                        <a:pt x="141" y="158"/>
                        <a:pt x="141" y="158"/>
                        <a:pt x="141" y="158"/>
                      </a:cubicBezTo>
                      <a:cubicBezTo>
                        <a:pt x="140" y="158"/>
                        <a:pt x="140" y="158"/>
                        <a:pt x="140" y="158"/>
                      </a:cubicBezTo>
                      <a:cubicBezTo>
                        <a:pt x="130" y="158"/>
                        <a:pt x="125" y="158"/>
                        <a:pt x="107" y="141"/>
                      </a:cubicBezTo>
                      <a:cubicBezTo>
                        <a:pt x="99" y="133"/>
                        <a:pt x="95" y="121"/>
                        <a:pt x="93" y="107"/>
                      </a:cubicBezTo>
                      <a:cubicBezTo>
                        <a:pt x="93" y="106"/>
                        <a:pt x="93" y="106"/>
                        <a:pt x="93" y="106"/>
                      </a:cubicBezTo>
                      <a:cubicBezTo>
                        <a:pt x="91" y="105"/>
                        <a:pt x="91" y="105"/>
                        <a:pt x="91" y="105"/>
                      </a:cubicBezTo>
                      <a:cubicBezTo>
                        <a:pt x="89" y="103"/>
                        <a:pt x="89" y="103"/>
                        <a:pt x="89" y="103"/>
                      </a:cubicBezTo>
                      <a:cubicBezTo>
                        <a:pt x="83" y="97"/>
                        <a:pt x="81" y="91"/>
                        <a:pt x="81" y="84"/>
                      </a:cubicBezTo>
                      <a:cubicBezTo>
                        <a:pt x="81" y="83"/>
                        <a:pt x="81" y="81"/>
                        <a:pt x="81" y="80"/>
                      </a:cubicBezTo>
                      <a:close/>
                    </a:path>
                  </a:pathLst>
                </a:custGeom>
                <a:solidFill>
                  <a:schemeClr val="accent2"/>
                </a:solidFill>
                <a:ln>
                  <a:noFill/>
                </a:ln>
                <a:effectLst/>
              </p:spPr>
              <p:txBody>
                <a:bodyPr vert="horz" wrap="square" lIns="91440" tIns="45720" rIns="91440" bIns="45720" numCol="1" anchor="t" anchorCtr="0" compatLnSpc="1">
                  <a:prstTxWarp prst="textNoShape">
                    <a:avLst/>
                  </a:prstTxWarp>
                </a:bodyPr>
                <a:lstStyle/>
                <a:p>
                  <a:pPr>
                    <a:spcBef>
                      <a:spcPts val="300"/>
                    </a:spcBef>
                    <a:spcAft>
                      <a:spcPts val="0"/>
                    </a:spcAft>
                  </a:pPr>
                  <a:endParaRPr lang="en-US" sz="1200" dirty="0">
                    <a:latin typeface="+mn-lt"/>
                  </a:endParaRPr>
                </a:p>
              </p:txBody>
            </p:sp>
          </p:grpSp>
        </p:grpSp>
        <p:grpSp>
          <p:nvGrpSpPr>
            <p:cNvPr id="37" name="Group 36"/>
            <p:cNvGrpSpPr/>
            <p:nvPr/>
          </p:nvGrpSpPr>
          <p:grpSpPr>
            <a:xfrm>
              <a:off x="2505559" y="6014816"/>
              <a:ext cx="6232041" cy="293975"/>
              <a:chOff x="2505559" y="5994914"/>
              <a:chExt cx="6232041" cy="293975"/>
            </a:xfrm>
          </p:grpSpPr>
          <p:sp>
            <p:nvSpPr>
              <p:cNvPr id="64" name="Rectangle 63">
                <a:extLst>
                  <a:ext uri="{FF2B5EF4-FFF2-40B4-BE49-F238E27FC236}">
                    <a16:creationId xmlns:a16="http://schemas.microsoft.com/office/drawing/2014/main" id="{0B74D2A9-F69C-4DB9-A5E3-F0418AA28A44}"/>
                  </a:ext>
                </a:extLst>
              </p:cNvPr>
              <p:cNvSpPr>
                <a:spLocks/>
              </p:cNvSpPr>
              <p:nvPr/>
            </p:nvSpPr>
            <p:spPr>
              <a:xfrm>
                <a:off x="2898288" y="5994914"/>
                <a:ext cx="5839312" cy="184666"/>
              </a:xfrm>
              <a:prstGeom prst="rect">
                <a:avLst/>
              </a:prstGeom>
            </p:spPr>
            <p:txBody>
              <a:bodyPr wrap="square" lIns="0" tIns="0" rIns="0" bIns="0">
                <a:noAutofit/>
              </a:bodyPr>
              <a:lstStyle/>
              <a:p>
                <a:pPr>
                  <a:spcBef>
                    <a:spcPts val="300"/>
                  </a:spcBef>
                  <a:spcAft>
                    <a:spcPts val="0"/>
                  </a:spcAft>
                  <a:buClr>
                    <a:schemeClr val="bg1"/>
                  </a:buClr>
                </a:pPr>
                <a:r>
                  <a:rPr lang="en-GB" sz="1200" b="1" dirty="0">
                    <a:solidFill>
                      <a:schemeClr val="accent4"/>
                    </a:solidFill>
                    <a:latin typeface="+mn-lt"/>
                  </a:rPr>
                  <a:t>Education</a:t>
                </a:r>
                <a:endParaRPr lang="en-US" sz="1200" b="1" dirty="0">
                  <a:solidFill>
                    <a:schemeClr val="accent4"/>
                  </a:solidFill>
                  <a:latin typeface="+mn-lt"/>
                </a:endParaRPr>
              </a:p>
            </p:txBody>
          </p:sp>
          <p:grpSp>
            <p:nvGrpSpPr>
              <p:cNvPr id="12" name="Group 11"/>
              <p:cNvGrpSpPr/>
              <p:nvPr/>
            </p:nvGrpSpPr>
            <p:grpSpPr>
              <a:xfrm>
                <a:off x="2505559" y="5994916"/>
                <a:ext cx="290994" cy="293973"/>
                <a:chOff x="2657989" y="5749755"/>
                <a:chExt cx="416364" cy="420624"/>
              </a:xfrm>
            </p:grpSpPr>
            <p:sp>
              <p:nvSpPr>
                <p:cNvPr id="98" name="Oval 97"/>
                <p:cNvSpPr/>
                <p:nvPr/>
              </p:nvSpPr>
              <p:spPr>
                <a:xfrm>
                  <a:off x="2657989" y="5749755"/>
                  <a:ext cx="416364" cy="420624"/>
                </a:xfrm>
                <a:prstGeom prst="ellipse">
                  <a:avLst/>
                </a:prstGeom>
                <a:solidFill>
                  <a:schemeClr val="bg1"/>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spcAft>
                      <a:spcPts val="0"/>
                    </a:spcAft>
                  </a:pPr>
                  <a:endParaRPr lang="en-US" sz="1200" dirty="0">
                    <a:solidFill>
                      <a:schemeClr val="tx1"/>
                    </a:solidFill>
                  </a:endParaRPr>
                </a:p>
              </p:txBody>
            </p:sp>
            <p:sp>
              <p:nvSpPr>
                <p:cNvPr id="110" name="Freeform 34"/>
                <p:cNvSpPr>
                  <a:spLocks noEditPoints="1"/>
                </p:cNvSpPr>
                <p:nvPr/>
              </p:nvSpPr>
              <p:spPr bwMode="auto">
                <a:xfrm>
                  <a:off x="2725251" y="5777354"/>
                  <a:ext cx="281841" cy="314783"/>
                </a:xfrm>
                <a:custGeom>
                  <a:avLst/>
                  <a:gdLst>
                    <a:gd name="T0" fmla="*/ 772 w 782"/>
                    <a:gd name="T1" fmla="*/ 133 h 950"/>
                    <a:gd name="T2" fmla="*/ 530 w 782"/>
                    <a:gd name="T3" fmla="*/ 7 h 950"/>
                    <a:gd name="T4" fmla="*/ 721 w 782"/>
                    <a:gd name="T5" fmla="*/ 152 h 950"/>
                    <a:gd name="T6" fmla="*/ 611 w 782"/>
                    <a:gd name="T7" fmla="*/ 163 h 950"/>
                    <a:gd name="T8" fmla="*/ 351 w 782"/>
                    <a:gd name="T9" fmla="*/ 44 h 950"/>
                    <a:gd name="T10" fmla="*/ 529 w 782"/>
                    <a:gd name="T11" fmla="*/ 197 h 950"/>
                    <a:gd name="T12" fmla="*/ 415 w 782"/>
                    <a:gd name="T13" fmla="*/ 208 h 950"/>
                    <a:gd name="T14" fmla="*/ 162 w 782"/>
                    <a:gd name="T15" fmla="*/ 83 h 950"/>
                    <a:gd name="T16" fmla="*/ 325 w 782"/>
                    <a:gd name="T17" fmla="*/ 244 h 950"/>
                    <a:gd name="T18" fmla="*/ 206 w 782"/>
                    <a:gd name="T19" fmla="*/ 257 h 950"/>
                    <a:gd name="T20" fmla="*/ 0 w 782"/>
                    <a:gd name="T21" fmla="*/ 116 h 950"/>
                    <a:gd name="T22" fmla="*/ 193 w 782"/>
                    <a:gd name="T23" fmla="*/ 931 h 950"/>
                    <a:gd name="T24" fmla="*/ 362 w 782"/>
                    <a:gd name="T25" fmla="*/ 911 h 950"/>
                    <a:gd name="T26" fmla="*/ 388 w 782"/>
                    <a:gd name="T27" fmla="*/ 874 h 950"/>
                    <a:gd name="T28" fmla="*/ 544 w 782"/>
                    <a:gd name="T29" fmla="*/ 850 h 950"/>
                    <a:gd name="T30" fmla="*/ 568 w 782"/>
                    <a:gd name="T31" fmla="*/ 816 h 950"/>
                    <a:gd name="T32" fmla="*/ 718 w 782"/>
                    <a:gd name="T33" fmla="*/ 793 h 950"/>
                    <a:gd name="T34" fmla="*/ 740 w 782"/>
                    <a:gd name="T35" fmla="*/ 760 h 950"/>
                    <a:gd name="T36" fmla="*/ 781 w 782"/>
                    <a:gd name="T37" fmla="*/ 147 h 950"/>
                    <a:gd name="T38" fmla="*/ 282 w 782"/>
                    <a:gd name="T39" fmla="*/ 882 h 950"/>
                    <a:gd name="T40" fmla="*/ 341 w 782"/>
                    <a:gd name="T41" fmla="*/ 771 h 950"/>
                    <a:gd name="T42" fmla="*/ 362 w 782"/>
                    <a:gd name="T43" fmla="*/ 603 h 950"/>
                    <a:gd name="T44" fmla="*/ 279 w 782"/>
                    <a:gd name="T45" fmla="*/ 645 h 950"/>
                    <a:gd name="T46" fmla="*/ 251 w 782"/>
                    <a:gd name="T47" fmla="*/ 343 h 950"/>
                    <a:gd name="T48" fmla="*/ 339 w 782"/>
                    <a:gd name="T49" fmla="*/ 301 h 950"/>
                    <a:gd name="T50" fmla="*/ 362 w 782"/>
                    <a:gd name="T51" fmla="*/ 603 h 950"/>
                    <a:gd name="T52" fmla="*/ 470 w 782"/>
                    <a:gd name="T53" fmla="*/ 820 h 950"/>
                    <a:gd name="T54" fmla="*/ 530 w 782"/>
                    <a:gd name="T55" fmla="*/ 713 h 950"/>
                    <a:gd name="T56" fmla="*/ 554 w 782"/>
                    <a:gd name="T57" fmla="*/ 548 h 950"/>
                    <a:gd name="T58" fmla="*/ 475 w 782"/>
                    <a:gd name="T59" fmla="*/ 588 h 950"/>
                    <a:gd name="T60" fmla="*/ 460 w 782"/>
                    <a:gd name="T61" fmla="*/ 292 h 950"/>
                    <a:gd name="T62" fmla="*/ 543 w 782"/>
                    <a:gd name="T63" fmla="*/ 252 h 950"/>
                    <a:gd name="T64" fmla="*/ 554 w 782"/>
                    <a:gd name="T65" fmla="*/ 548 h 950"/>
                    <a:gd name="T66" fmla="*/ 649 w 782"/>
                    <a:gd name="T67" fmla="*/ 763 h 950"/>
                    <a:gd name="T68" fmla="*/ 709 w 782"/>
                    <a:gd name="T69" fmla="*/ 658 h 950"/>
                    <a:gd name="T70" fmla="*/ 732 w 782"/>
                    <a:gd name="T71" fmla="*/ 495 h 950"/>
                    <a:gd name="T72" fmla="*/ 661 w 782"/>
                    <a:gd name="T73" fmla="*/ 534 h 950"/>
                    <a:gd name="T74" fmla="*/ 656 w 782"/>
                    <a:gd name="T75" fmla="*/ 243 h 950"/>
                    <a:gd name="T76" fmla="*/ 732 w 782"/>
                    <a:gd name="T77" fmla="*/ 205 h 950"/>
                    <a:gd name="T78" fmla="*/ 732 w 782"/>
                    <a:gd name="T79" fmla="*/ 495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82" h="950">
                      <a:moveTo>
                        <a:pt x="781" y="147"/>
                      </a:moveTo>
                      <a:cubicBezTo>
                        <a:pt x="782" y="141"/>
                        <a:pt x="777" y="136"/>
                        <a:pt x="772" y="133"/>
                      </a:cubicBezTo>
                      <a:cubicBezTo>
                        <a:pt x="562" y="0"/>
                        <a:pt x="562" y="0"/>
                        <a:pt x="562" y="0"/>
                      </a:cubicBezTo>
                      <a:cubicBezTo>
                        <a:pt x="530" y="7"/>
                        <a:pt x="530" y="7"/>
                        <a:pt x="530" y="7"/>
                      </a:cubicBezTo>
                      <a:cubicBezTo>
                        <a:pt x="729" y="135"/>
                        <a:pt x="729" y="135"/>
                        <a:pt x="729" y="135"/>
                      </a:cubicBezTo>
                      <a:cubicBezTo>
                        <a:pt x="740" y="143"/>
                        <a:pt x="729" y="150"/>
                        <a:pt x="721" y="152"/>
                      </a:cubicBezTo>
                      <a:cubicBezTo>
                        <a:pt x="653" y="168"/>
                        <a:pt x="653" y="168"/>
                        <a:pt x="653" y="168"/>
                      </a:cubicBezTo>
                      <a:cubicBezTo>
                        <a:pt x="640" y="171"/>
                        <a:pt x="622" y="170"/>
                        <a:pt x="611" y="163"/>
                      </a:cubicBezTo>
                      <a:cubicBezTo>
                        <a:pt x="418" y="30"/>
                        <a:pt x="418" y="30"/>
                        <a:pt x="418" y="30"/>
                      </a:cubicBezTo>
                      <a:cubicBezTo>
                        <a:pt x="351" y="44"/>
                        <a:pt x="351" y="44"/>
                        <a:pt x="351" y="44"/>
                      </a:cubicBezTo>
                      <a:cubicBezTo>
                        <a:pt x="539" y="179"/>
                        <a:pt x="539" y="179"/>
                        <a:pt x="539" y="179"/>
                      </a:cubicBezTo>
                      <a:cubicBezTo>
                        <a:pt x="551" y="187"/>
                        <a:pt x="537" y="195"/>
                        <a:pt x="529" y="197"/>
                      </a:cubicBezTo>
                      <a:cubicBezTo>
                        <a:pt x="456" y="214"/>
                        <a:pt x="456" y="214"/>
                        <a:pt x="456" y="214"/>
                      </a:cubicBezTo>
                      <a:cubicBezTo>
                        <a:pt x="444" y="217"/>
                        <a:pt x="425" y="217"/>
                        <a:pt x="415" y="208"/>
                      </a:cubicBezTo>
                      <a:cubicBezTo>
                        <a:pt x="233" y="68"/>
                        <a:pt x="233" y="68"/>
                        <a:pt x="233" y="68"/>
                      </a:cubicBezTo>
                      <a:cubicBezTo>
                        <a:pt x="162" y="83"/>
                        <a:pt x="162" y="83"/>
                        <a:pt x="162" y="83"/>
                      </a:cubicBezTo>
                      <a:cubicBezTo>
                        <a:pt x="338" y="226"/>
                        <a:pt x="338" y="226"/>
                        <a:pt x="338" y="226"/>
                      </a:cubicBezTo>
                      <a:cubicBezTo>
                        <a:pt x="349" y="235"/>
                        <a:pt x="333" y="243"/>
                        <a:pt x="325" y="244"/>
                      </a:cubicBezTo>
                      <a:cubicBezTo>
                        <a:pt x="248" y="262"/>
                        <a:pt x="248" y="262"/>
                        <a:pt x="248" y="262"/>
                      </a:cubicBezTo>
                      <a:cubicBezTo>
                        <a:pt x="236" y="265"/>
                        <a:pt x="216" y="266"/>
                        <a:pt x="206" y="257"/>
                      </a:cubicBezTo>
                      <a:cubicBezTo>
                        <a:pt x="38" y="109"/>
                        <a:pt x="38" y="109"/>
                        <a:pt x="38" y="109"/>
                      </a:cubicBezTo>
                      <a:cubicBezTo>
                        <a:pt x="0" y="116"/>
                        <a:pt x="0" y="116"/>
                        <a:pt x="0" y="116"/>
                      </a:cubicBezTo>
                      <a:cubicBezTo>
                        <a:pt x="36" y="736"/>
                        <a:pt x="36" y="736"/>
                        <a:pt x="36" y="736"/>
                      </a:cubicBezTo>
                      <a:cubicBezTo>
                        <a:pt x="193" y="931"/>
                        <a:pt x="193" y="931"/>
                        <a:pt x="193" y="931"/>
                      </a:cubicBezTo>
                      <a:cubicBezTo>
                        <a:pt x="208" y="950"/>
                        <a:pt x="241" y="950"/>
                        <a:pt x="262" y="943"/>
                      </a:cubicBezTo>
                      <a:cubicBezTo>
                        <a:pt x="362" y="911"/>
                        <a:pt x="362" y="911"/>
                        <a:pt x="362" y="911"/>
                      </a:cubicBezTo>
                      <a:cubicBezTo>
                        <a:pt x="373" y="907"/>
                        <a:pt x="388" y="898"/>
                        <a:pt x="388" y="884"/>
                      </a:cubicBezTo>
                      <a:cubicBezTo>
                        <a:pt x="388" y="874"/>
                        <a:pt x="388" y="874"/>
                        <a:pt x="388" y="874"/>
                      </a:cubicBezTo>
                      <a:cubicBezTo>
                        <a:pt x="405" y="886"/>
                        <a:pt x="430" y="888"/>
                        <a:pt x="450" y="881"/>
                      </a:cubicBezTo>
                      <a:cubicBezTo>
                        <a:pt x="544" y="850"/>
                        <a:pt x="544" y="850"/>
                        <a:pt x="544" y="850"/>
                      </a:cubicBezTo>
                      <a:cubicBezTo>
                        <a:pt x="551" y="848"/>
                        <a:pt x="558" y="844"/>
                        <a:pt x="563" y="839"/>
                      </a:cubicBezTo>
                      <a:cubicBezTo>
                        <a:pt x="568" y="832"/>
                        <a:pt x="568" y="825"/>
                        <a:pt x="568" y="816"/>
                      </a:cubicBezTo>
                      <a:cubicBezTo>
                        <a:pt x="586" y="827"/>
                        <a:pt x="609" y="829"/>
                        <a:pt x="628" y="822"/>
                      </a:cubicBezTo>
                      <a:cubicBezTo>
                        <a:pt x="718" y="793"/>
                        <a:pt x="718" y="793"/>
                        <a:pt x="718" y="793"/>
                      </a:cubicBezTo>
                      <a:cubicBezTo>
                        <a:pt x="724" y="791"/>
                        <a:pt x="730" y="787"/>
                        <a:pt x="734" y="782"/>
                      </a:cubicBezTo>
                      <a:cubicBezTo>
                        <a:pt x="740" y="776"/>
                        <a:pt x="739" y="768"/>
                        <a:pt x="740" y="760"/>
                      </a:cubicBezTo>
                      <a:cubicBezTo>
                        <a:pt x="741" y="743"/>
                        <a:pt x="780" y="155"/>
                        <a:pt x="781" y="147"/>
                      </a:cubicBezTo>
                      <a:cubicBezTo>
                        <a:pt x="782" y="145"/>
                        <a:pt x="781" y="147"/>
                        <a:pt x="781" y="147"/>
                      </a:cubicBezTo>
                      <a:close/>
                      <a:moveTo>
                        <a:pt x="318" y="880"/>
                      </a:moveTo>
                      <a:cubicBezTo>
                        <a:pt x="307" y="885"/>
                        <a:pt x="294" y="887"/>
                        <a:pt x="282" y="882"/>
                      </a:cubicBezTo>
                      <a:cubicBezTo>
                        <a:pt x="244" y="865"/>
                        <a:pt x="256" y="794"/>
                        <a:pt x="304" y="773"/>
                      </a:cubicBezTo>
                      <a:cubicBezTo>
                        <a:pt x="316" y="768"/>
                        <a:pt x="329" y="766"/>
                        <a:pt x="341" y="771"/>
                      </a:cubicBezTo>
                      <a:cubicBezTo>
                        <a:pt x="378" y="789"/>
                        <a:pt x="365" y="858"/>
                        <a:pt x="318" y="880"/>
                      </a:cubicBezTo>
                      <a:close/>
                      <a:moveTo>
                        <a:pt x="362" y="603"/>
                      </a:moveTo>
                      <a:cubicBezTo>
                        <a:pt x="359" y="614"/>
                        <a:pt x="351" y="624"/>
                        <a:pt x="341" y="627"/>
                      </a:cubicBezTo>
                      <a:cubicBezTo>
                        <a:pt x="279" y="645"/>
                        <a:pt x="279" y="645"/>
                        <a:pt x="279" y="645"/>
                      </a:cubicBezTo>
                      <a:cubicBezTo>
                        <a:pt x="269" y="648"/>
                        <a:pt x="260" y="643"/>
                        <a:pt x="257" y="633"/>
                      </a:cubicBezTo>
                      <a:cubicBezTo>
                        <a:pt x="251" y="343"/>
                        <a:pt x="251" y="343"/>
                        <a:pt x="251" y="343"/>
                      </a:cubicBezTo>
                      <a:cubicBezTo>
                        <a:pt x="254" y="331"/>
                        <a:pt x="262" y="320"/>
                        <a:pt x="274" y="317"/>
                      </a:cubicBezTo>
                      <a:cubicBezTo>
                        <a:pt x="339" y="301"/>
                        <a:pt x="339" y="301"/>
                        <a:pt x="339" y="301"/>
                      </a:cubicBezTo>
                      <a:cubicBezTo>
                        <a:pt x="350" y="299"/>
                        <a:pt x="359" y="305"/>
                        <a:pt x="362" y="316"/>
                      </a:cubicBezTo>
                      <a:lnTo>
                        <a:pt x="362" y="603"/>
                      </a:lnTo>
                      <a:close/>
                      <a:moveTo>
                        <a:pt x="504" y="820"/>
                      </a:moveTo>
                      <a:cubicBezTo>
                        <a:pt x="493" y="824"/>
                        <a:pt x="481" y="826"/>
                        <a:pt x="470" y="820"/>
                      </a:cubicBezTo>
                      <a:cubicBezTo>
                        <a:pt x="436" y="803"/>
                        <a:pt x="450" y="734"/>
                        <a:pt x="495" y="714"/>
                      </a:cubicBezTo>
                      <a:cubicBezTo>
                        <a:pt x="506" y="709"/>
                        <a:pt x="519" y="707"/>
                        <a:pt x="530" y="713"/>
                      </a:cubicBezTo>
                      <a:cubicBezTo>
                        <a:pt x="564" y="732"/>
                        <a:pt x="549" y="800"/>
                        <a:pt x="504" y="820"/>
                      </a:cubicBezTo>
                      <a:close/>
                      <a:moveTo>
                        <a:pt x="554" y="548"/>
                      </a:moveTo>
                      <a:cubicBezTo>
                        <a:pt x="552" y="558"/>
                        <a:pt x="544" y="568"/>
                        <a:pt x="534" y="571"/>
                      </a:cubicBezTo>
                      <a:cubicBezTo>
                        <a:pt x="475" y="588"/>
                        <a:pt x="475" y="588"/>
                        <a:pt x="475" y="588"/>
                      </a:cubicBezTo>
                      <a:cubicBezTo>
                        <a:pt x="466" y="591"/>
                        <a:pt x="458" y="585"/>
                        <a:pt x="455" y="576"/>
                      </a:cubicBezTo>
                      <a:cubicBezTo>
                        <a:pt x="460" y="292"/>
                        <a:pt x="460" y="292"/>
                        <a:pt x="460" y="292"/>
                      </a:cubicBezTo>
                      <a:cubicBezTo>
                        <a:pt x="463" y="281"/>
                        <a:pt x="470" y="269"/>
                        <a:pt x="482" y="267"/>
                      </a:cubicBezTo>
                      <a:cubicBezTo>
                        <a:pt x="543" y="252"/>
                        <a:pt x="543" y="252"/>
                        <a:pt x="543" y="252"/>
                      </a:cubicBezTo>
                      <a:cubicBezTo>
                        <a:pt x="554" y="249"/>
                        <a:pt x="562" y="256"/>
                        <a:pt x="564" y="266"/>
                      </a:cubicBezTo>
                      <a:lnTo>
                        <a:pt x="554" y="548"/>
                      </a:lnTo>
                      <a:close/>
                      <a:moveTo>
                        <a:pt x="682" y="762"/>
                      </a:moveTo>
                      <a:cubicBezTo>
                        <a:pt x="672" y="767"/>
                        <a:pt x="659" y="768"/>
                        <a:pt x="649" y="763"/>
                      </a:cubicBezTo>
                      <a:cubicBezTo>
                        <a:pt x="617" y="745"/>
                        <a:pt x="633" y="678"/>
                        <a:pt x="675" y="658"/>
                      </a:cubicBezTo>
                      <a:cubicBezTo>
                        <a:pt x="686" y="653"/>
                        <a:pt x="698" y="652"/>
                        <a:pt x="709" y="658"/>
                      </a:cubicBezTo>
                      <a:cubicBezTo>
                        <a:pt x="739" y="676"/>
                        <a:pt x="724" y="742"/>
                        <a:pt x="682" y="762"/>
                      </a:cubicBezTo>
                      <a:close/>
                      <a:moveTo>
                        <a:pt x="732" y="495"/>
                      </a:moveTo>
                      <a:cubicBezTo>
                        <a:pt x="730" y="505"/>
                        <a:pt x="723" y="515"/>
                        <a:pt x="712" y="518"/>
                      </a:cubicBezTo>
                      <a:cubicBezTo>
                        <a:pt x="661" y="534"/>
                        <a:pt x="661" y="534"/>
                        <a:pt x="661" y="534"/>
                      </a:cubicBezTo>
                      <a:cubicBezTo>
                        <a:pt x="652" y="537"/>
                        <a:pt x="645" y="531"/>
                        <a:pt x="643" y="522"/>
                      </a:cubicBezTo>
                      <a:cubicBezTo>
                        <a:pt x="656" y="243"/>
                        <a:pt x="656" y="243"/>
                        <a:pt x="656" y="243"/>
                      </a:cubicBezTo>
                      <a:cubicBezTo>
                        <a:pt x="659" y="233"/>
                        <a:pt x="666" y="222"/>
                        <a:pt x="678" y="219"/>
                      </a:cubicBezTo>
                      <a:cubicBezTo>
                        <a:pt x="732" y="205"/>
                        <a:pt x="732" y="205"/>
                        <a:pt x="732" y="205"/>
                      </a:cubicBezTo>
                      <a:cubicBezTo>
                        <a:pt x="742" y="203"/>
                        <a:pt x="749" y="210"/>
                        <a:pt x="750" y="219"/>
                      </a:cubicBezTo>
                      <a:lnTo>
                        <a:pt x="732" y="495"/>
                      </a:lnTo>
                      <a:close/>
                    </a:path>
                  </a:pathLst>
                </a:custGeom>
                <a:solidFill>
                  <a:schemeClr val="accent2"/>
                </a:solidFill>
                <a:ln>
                  <a:noFill/>
                </a:ln>
                <a:effectLst/>
              </p:spPr>
              <p:txBody>
                <a:bodyPr vert="horz" wrap="none" lIns="91440" tIns="45720" rIns="91440" bIns="45720" numCol="1" anchor="t" anchorCtr="0" compatLnSpc="1">
                  <a:prstTxWarp prst="textNoShape">
                    <a:avLst/>
                  </a:prstTxWarp>
                </a:bodyPr>
                <a:lstStyle/>
                <a:p>
                  <a:pPr>
                    <a:spcBef>
                      <a:spcPts val="300"/>
                    </a:spcBef>
                    <a:spcAft>
                      <a:spcPts val="0"/>
                    </a:spcAft>
                  </a:pPr>
                  <a:endParaRPr lang="en-US" sz="1200" dirty="0">
                    <a:latin typeface="+mn-lt"/>
                  </a:endParaRPr>
                </a:p>
              </p:txBody>
            </p:sp>
          </p:grpSp>
        </p:grpSp>
        <p:grpSp>
          <p:nvGrpSpPr>
            <p:cNvPr id="39" name="Group 38"/>
            <p:cNvGrpSpPr/>
            <p:nvPr/>
          </p:nvGrpSpPr>
          <p:grpSpPr>
            <a:xfrm>
              <a:off x="2585281" y="2739795"/>
              <a:ext cx="6211730" cy="2352507"/>
              <a:chOff x="2585281" y="2658558"/>
              <a:chExt cx="6211730" cy="2352507"/>
            </a:xfrm>
          </p:grpSpPr>
          <p:sp>
            <p:nvSpPr>
              <p:cNvPr id="89" name="TextBox 88"/>
              <p:cNvSpPr txBox="1">
                <a:spLocks/>
              </p:cNvSpPr>
              <p:nvPr/>
            </p:nvSpPr>
            <p:spPr>
              <a:xfrm>
                <a:off x="2869095" y="3432118"/>
                <a:ext cx="5839312" cy="15789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342900" lvl="0" indent="-342900" defTabSz="895350">
                  <a:buClr>
                    <a:schemeClr val="tx2"/>
                  </a:buClr>
                  <a:defRPr>
                    <a:latin typeface="+mn-lt"/>
                    <a:cs typeface="+mn-cs"/>
                  </a:defRPr>
                </a:lvl1pPr>
                <a:lvl2pPr marL="193675" lvl="1" indent="-192088" defTabSz="895350">
                  <a:buClr>
                    <a:schemeClr val="tx2"/>
                  </a:buClr>
                  <a:buSzPct val="125000"/>
                  <a:buFont typeface="Arial" panose="020B0604020202020204" pitchFamily="34" charset="0"/>
                  <a:buChar char="▪"/>
                  <a:defRPr>
                    <a:latin typeface="+mn-lt"/>
                    <a:cs typeface="+mn-cs"/>
                  </a:defRPr>
                </a:lvl2pPr>
                <a:lvl3pPr marL="457200" lvl="2" indent="-261938" defTabSz="895350">
                  <a:buClr>
                    <a:schemeClr val="tx2"/>
                  </a:buClr>
                  <a:buSzPct val="120000"/>
                  <a:buFont typeface="Arial" panose="020B0604020202020204" pitchFamily="34" charset="0"/>
                  <a:buChar char="–"/>
                  <a:defRPr>
                    <a:latin typeface="+mn-lt"/>
                    <a:cs typeface="+mn-cs"/>
                  </a:defRPr>
                </a:lvl3pPr>
                <a:lvl4pPr marL="614363" lvl="3" indent="-155575" defTabSz="895350">
                  <a:buClr>
                    <a:schemeClr val="tx2"/>
                  </a:buClr>
                  <a:buSzPct val="120000"/>
                  <a:buFont typeface="Arial" panose="020B0604020202020204" pitchFamily="34" charset="0"/>
                  <a:buChar char="▫"/>
                  <a:defRPr>
                    <a:latin typeface="+mn-lt"/>
                    <a:cs typeface="+mn-cs"/>
                  </a:defRPr>
                </a:lvl4pPr>
                <a:lvl5pPr marL="746125" lvl="4" indent="-130175" defTabSz="895350">
                  <a:buClr>
                    <a:schemeClr val="tx2"/>
                  </a:buClr>
                  <a:buSzPct val="89000"/>
                  <a:buFont typeface="Arial" panose="020B0604020202020204" pitchFamily="34" charset="0"/>
                  <a:buChar char="-"/>
                  <a:defRPr>
                    <a:latin typeface="+mn-lt"/>
                    <a:cs typeface="+mn-cs"/>
                  </a:defRPr>
                </a:lvl5pPr>
                <a:lvl6pPr marL="1203325" indent="-130175" defTabSz="895350" fontAlgn="base">
                  <a:spcBef>
                    <a:spcPct val="0"/>
                  </a:spcBef>
                  <a:spcAft>
                    <a:spcPct val="0"/>
                  </a:spcAft>
                  <a:buClr>
                    <a:schemeClr val="tx2"/>
                  </a:buClr>
                  <a:buSzPct val="89000"/>
                  <a:buFont typeface="Arial" charset="0"/>
                  <a:buChar char="-"/>
                  <a:defRPr>
                    <a:latin typeface="+mn-lt"/>
                    <a:cs typeface="+mn-cs"/>
                  </a:defRPr>
                </a:lvl6pPr>
                <a:lvl7pPr marL="1660525" indent="-130175" defTabSz="895350" fontAlgn="base">
                  <a:spcBef>
                    <a:spcPct val="0"/>
                  </a:spcBef>
                  <a:spcAft>
                    <a:spcPct val="0"/>
                  </a:spcAft>
                  <a:buClr>
                    <a:schemeClr val="tx2"/>
                  </a:buClr>
                  <a:buSzPct val="89000"/>
                  <a:buFont typeface="Arial" charset="0"/>
                  <a:buChar char="-"/>
                  <a:defRPr>
                    <a:latin typeface="+mn-lt"/>
                    <a:cs typeface="+mn-cs"/>
                  </a:defRPr>
                </a:lvl7pPr>
                <a:lvl8pPr marL="2117725" indent="-130175" defTabSz="895350" fontAlgn="base">
                  <a:spcBef>
                    <a:spcPct val="0"/>
                  </a:spcBef>
                  <a:spcAft>
                    <a:spcPct val="0"/>
                  </a:spcAft>
                  <a:buClr>
                    <a:schemeClr val="tx2"/>
                  </a:buClr>
                  <a:buSzPct val="89000"/>
                  <a:buFont typeface="Arial" charset="0"/>
                  <a:buChar char="-"/>
                  <a:defRPr>
                    <a:latin typeface="+mn-lt"/>
                    <a:cs typeface="+mn-cs"/>
                  </a:defRPr>
                </a:lvl8pPr>
                <a:lvl9pPr marL="2574925" indent="-130175" defTabSz="895350" fontAlgn="base">
                  <a:spcBef>
                    <a:spcPct val="0"/>
                  </a:spcBef>
                  <a:spcAft>
                    <a:spcPct val="0"/>
                  </a:spcAft>
                  <a:buClr>
                    <a:schemeClr val="tx2"/>
                  </a:buClr>
                  <a:buSzPct val="89000"/>
                  <a:buFont typeface="Arial" charset="0"/>
                  <a:buChar char="-"/>
                  <a:defRPr>
                    <a:latin typeface="+mn-lt"/>
                    <a:cs typeface="+mn-cs"/>
                  </a:defRPr>
                </a:lvl9pPr>
              </a:lstStyle>
              <a:p>
                <a:pPr lvl="1">
                  <a:spcBef>
                    <a:spcPts val="300"/>
                  </a:spcBef>
                  <a:spcAft>
                    <a:spcPts val="0"/>
                  </a:spcAft>
                </a:pPr>
                <a:endParaRPr lang="en-US" sz="1150" b="1" dirty="0"/>
              </a:p>
              <a:p>
                <a:pPr lvl="1">
                  <a:spcBef>
                    <a:spcPts val="300"/>
                  </a:spcBef>
                  <a:spcAft>
                    <a:spcPts val="0"/>
                  </a:spcAft>
                </a:pPr>
                <a:r>
                  <a:rPr lang="en-US" sz="1150" b="1" dirty="0"/>
                  <a:t>Price Elasticity Modeling for Apparel Client (2 month) –</a:t>
                </a:r>
                <a:r>
                  <a:rPr lang="en-US" sz="1150" dirty="0"/>
                  <a:t>Created a module in R to develop price elasticity models for various categories and products groups at once using Mixed Models</a:t>
                </a:r>
                <a:endParaRPr lang="en-US" sz="1150" b="1" dirty="0"/>
              </a:p>
              <a:p>
                <a:pPr lvl="1">
                  <a:spcBef>
                    <a:spcPts val="300"/>
                  </a:spcBef>
                  <a:spcAft>
                    <a:spcPts val="0"/>
                  </a:spcAft>
                </a:pPr>
                <a:r>
                  <a:rPr lang="en-US" sz="1150" b="1" dirty="0"/>
                  <a:t>Purchase Structure Development (2 month) </a:t>
                </a:r>
                <a:r>
                  <a:rPr lang="en-US" sz="1150" dirty="0"/>
                  <a:t>– Built Purchase Structure for different product category for a leading Beverage client. Understood market and used advanced analytics techniques to develop shoppers buying behavior hierarchy. Handled client/CST communication and presented result. </a:t>
                </a:r>
              </a:p>
            </p:txBody>
          </p:sp>
          <p:sp>
            <p:nvSpPr>
              <p:cNvPr id="88" name="Rectangle 87"/>
              <p:cNvSpPr>
                <a:spLocks/>
              </p:cNvSpPr>
              <p:nvPr/>
            </p:nvSpPr>
            <p:spPr>
              <a:xfrm>
                <a:off x="2957699" y="3411340"/>
                <a:ext cx="5839312" cy="184666"/>
              </a:xfrm>
              <a:prstGeom prst="rect">
                <a:avLst/>
              </a:prstGeom>
            </p:spPr>
            <p:txBody>
              <a:bodyPr wrap="square" lIns="0" tIns="0" rIns="0" bIns="0">
                <a:noAutofit/>
              </a:bodyPr>
              <a:lstStyle/>
              <a:p>
                <a:pPr>
                  <a:spcBef>
                    <a:spcPts val="300"/>
                  </a:spcBef>
                  <a:spcAft>
                    <a:spcPts val="0"/>
                  </a:spcAft>
                  <a:buClr>
                    <a:schemeClr val="bg1"/>
                  </a:buClr>
                </a:pPr>
                <a:r>
                  <a:rPr lang="en-US" sz="1200" b="1" dirty="0">
                    <a:solidFill>
                      <a:schemeClr val="accent4"/>
                    </a:solidFill>
                    <a:latin typeface="+mn-lt"/>
                  </a:rPr>
                  <a:t>Recent Engagements at McKinsey</a:t>
                </a:r>
              </a:p>
            </p:txBody>
          </p:sp>
          <p:sp>
            <p:nvSpPr>
              <p:cNvPr id="59" name="Freeform 33">
                <a:extLst>
                  <a:ext uri="{FF2B5EF4-FFF2-40B4-BE49-F238E27FC236}">
                    <a16:creationId xmlns:a16="http://schemas.microsoft.com/office/drawing/2014/main" id="{1BB5E882-65FD-4468-AE32-3F0A6F9C9333}"/>
                  </a:ext>
                </a:extLst>
              </p:cNvPr>
              <p:cNvSpPr>
                <a:spLocks/>
              </p:cNvSpPr>
              <p:nvPr/>
            </p:nvSpPr>
            <p:spPr bwMode="auto">
              <a:xfrm flipH="1">
                <a:off x="2585281" y="2658558"/>
                <a:ext cx="7354" cy="4834"/>
              </a:xfrm>
              <a:custGeom>
                <a:avLst/>
                <a:gdLst>
                  <a:gd name="T0" fmla="*/ 53 w 60"/>
                  <a:gd name="T1" fmla="*/ 1 h 37"/>
                  <a:gd name="T2" fmla="*/ 7 w 60"/>
                  <a:gd name="T3" fmla="*/ 1 h 37"/>
                  <a:gd name="T4" fmla="*/ 3 w 60"/>
                  <a:gd name="T5" fmla="*/ 4 h 37"/>
                  <a:gd name="T6" fmla="*/ 0 w 60"/>
                  <a:gd name="T7" fmla="*/ 10 h 37"/>
                  <a:gd name="T8" fmla="*/ 0 w 60"/>
                  <a:gd name="T9" fmla="*/ 14 h 37"/>
                  <a:gd name="T10" fmla="*/ 11 w 60"/>
                  <a:gd name="T11" fmla="*/ 36 h 37"/>
                  <a:gd name="T12" fmla="*/ 13 w 60"/>
                  <a:gd name="T13" fmla="*/ 37 h 37"/>
                  <a:gd name="T14" fmla="*/ 30 w 60"/>
                  <a:gd name="T15" fmla="*/ 37 h 37"/>
                  <a:gd name="T16" fmla="*/ 46 w 60"/>
                  <a:gd name="T17" fmla="*/ 37 h 37"/>
                  <a:gd name="T18" fmla="*/ 49 w 60"/>
                  <a:gd name="T19" fmla="*/ 36 h 37"/>
                  <a:gd name="T20" fmla="*/ 57 w 60"/>
                  <a:gd name="T21" fmla="*/ 20 h 37"/>
                  <a:gd name="T22" fmla="*/ 57 w 60"/>
                  <a:gd name="T23" fmla="*/ 4 h 37"/>
                  <a:gd name="T24" fmla="*/ 53 w 60"/>
                  <a:gd name="T25" fmla="*/ 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37">
                    <a:moveTo>
                      <a:pt x="53" y="1"/>
                    </a:moveTo>
                    <a:cubicBezTo>
                      <a:pt x="37" y="0"/>
                      <a:pt x="22" y="1"/>
                      <a:pt x="7" y="1"/>
                    </a:cubicBezTo>
                    <a:cubicBezTo>
                      <a:pt x="5" y="1"/>
                      <a:pt x="3" y="2"/>
                      <a:pt x="3" y="4"/>
                    </a:cubicBezTo>
                    <a:cubicBezTo>
                      <a:pt x="2" y="6"/>
                      <a:pt x="1" y="8"/>
                      <a:pt x="0" y="10"/>
                    </a:cubicBezTo>
                    <a:cubicBezTo>
                      <a:pt x="0" y="11"/>
                      <a:pt x="0" y="13"/>
                      <a:pt x="0" y="14"/>
                    </a:cubicBezTo>
                    <a:cubicBezTo>
                      <a:pt x="4" y="21"/>
                      <a:pt x="7" y="28"/>
                      <a:pt x="11" y="36"/>
                    </a:cubicBezTo>
                    <a:cubicBezTo>
                      <a:pt x="11" y="37"/>
                      <a:pt x="12" y="37"/>
                      <a:pt x="13" y="37"/>
                    </a:cubicBezTo>
                    <a:cubicBezTo>
                      <a:pt x="19" y="37"/>
                      <a:pt x="24" y="37"/>
                      <a:pt x="30" y="37"/>
                    </a:cubicBezTo>
                    <a:cubicBezTo>
                      <a:pt x="35" y="37"/>
                      <a:pt x="41" y="37"/>
                      <a:pt x="46" y="37"/>
                    </a:cubicBezTo>
                    <a:cubicBezTo>
                      <a:pt x="47" y="37"/>
                      <a:pt x="48" y="37"/>
                      <a:pt x="49" y="36"/>
                    </a:cubicBezTo>
                    <a:cubicBezTo>
                      <a:pt x="51" y="30"/>
                      <a:pt x="54" y="25"/>
                      <a:pt x="57" y="20"/>
                    </a:cubicBezTo>
                    <a:cubicBezTo>
                      <a:pt x="60" y="15"/>
                      <a:pt x="60" y="10"/>
                      <a:pt x="57" y="4"/>
                    </a:cubicBezTo>
                    <a:cubicBezTo>
                      <a:pt x="56" y="2"/>
                      <a:pt x="55" y="1"/>
                      <a:pt x="53" y="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spcAft>
                    <a:spcPts val="0"/>
                  </a:spcAft>
                </a:pPr>
                <a:endParaRPr lang="en-US" sz="1200" dirty="0">
                  <a:latin typeface="+mn-lt"/>
                </a:endParaRPr>
              </a:p>
            </p:txBody>
          </p:sp>
        </p:grpSp>
        <p:grpSp>
          <p:nvGrpSpPr>
            <p:cNvPr id="38" name="Group 37"/>
            <p:cNvGrpSpPr/>
            <p:nvPr/>
          </p:nvGrpSpPr>
          <p:grpSpPr>
            <a:xfrm>
              <a:off x="2569880" y="5094956"/>
              <a:ext cx="6167720" cy="841182"/>
              <a:chOff x="2569880" y="4951722"/>
              <a:chExt cx="6167720" cy="841182"/>
            </a:xfrm>
          </p:grpSpPr>
          <p:sp>
            <p:nvSpPr>
              <p:cNvPr id="63" name="TextBox 62">
                <a:extLst>
                  <a:ext uri="{FF2B5EF4-FFF2-40B4-BE49-F238E27FC236}">
                    <a16:creationId xmlns:a16="http://schemas.microsoft.com/office/drawing/2014/main" id="{C62C84A1-8A29-4E52-AA52-C2DE5FC53996}"/>
                  </a:ext>
                </a:extLst>
              </p:cNvPr>
              <p:cNvSpPr txBox="1">
                <a:spLocks/>
              </p:cNvSpPr>
              <p:nvPr/>
            </p:nvSpPr>
            <p:spPr>
              <a:xfrm>
                <a:off x="2851280" y="5185045"/>
                <a:ext cx="5839312" cy="60785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342900" lvl="0" indent="-342900" defTabSz="895350">
                  <a:buClr>
                    <a:schemeClr val="tx2"/>
                  </a:buClr>
                  <a:defRPr>
                    <a:latin typeface="+mn-lt"/>
                    <a:cs typeface="+mn-cs"/>
                  </a:defRPr>
                </a:lvl1pPr>
                <a:lvl2pPr marL="193675" lvl="1" indent="-192088" defTabSz="895350">
                  <a:buClr>
                    <a:schemeClr val="tx2"/>
                  </a:buClr>
                  <a:buSzPct val="125000"/>
                  <a:buFont typeface="Arial" panose="020B0604020202020204" pitchFamily="34" charset="0"/>
                  <a:buChar char="▪"/>
                  <a:defRPr>
                    <a:latin typeface="+mn-lt"/>
                    <a:cs typeface="+mn-cs"/>
                  </a:defRPr>
                </a:lvl2pPr>
                <a:lvl3pPr marL="457200" lvl="2" indent="-261938" defTabSz="895350">
                  <a:buClr>
                    <a:schemeClr val="tx2"/>
                  </a:buClr>
                  <a:buSzPct val="120000"/>
                  <a:buFont typeface="Arial" panose="020B0604020202020204" pitchFamily="34" charset="0"/>
                  <a:buChar char="–"/>
                  <a:defRPr>
                    <a:latin typeface="+mn-lt"/>
                    <a:cs typeface="+mn-cs"/>
                  </a:defRPr>
                </a:lvl3pPr>
                <a:lvl4pPr marL="614363" lvl="3" indent="-155575" defTabSz="895350">
                  <a:buClr>
                    <a:schemeClr val="tx2"/>
                  </a:buClr>
                  <a:buSzPct val="120000"/>
                  <a:buFont typeface="Arial" panose="020B0604020202020204" pitchFamily="34" charset="0"/>
                  <a:buChar char="▫"/>
                  <a:defRPr>
                    <a:latin typeface="+mn-lt"/>
                    <a:cs typeface="+mn-cs"/>
                  </a:defRPr>
                </a:lvl4pPr>
                <a:lvl5pPr marL="746125" lvl="4" indent="-130175" defTabSz="895350">
                  <a:buClr>
                    <a:schemeClr val="tx2"/>
                  </a:buClr>
                  <a:buSzPct val="89000"/>
                  <a:buFont typeface="Arial" panose="020B0604020202020204" pitchFamily="34" charset="0"/>
                  <a:buChar char="-"/>
                  <a:defRPr>
                    <a:latin typeface="+mn-lt"/>
                    <a:cs typeface="+mn-cs"/>
                  </a:defRPr>
                </a:lvl5pPr>
                <a:lvl6pPr marL="1203325" indent="-130175" defTabSz="895350" fontAlgn="base">
                  <a:spcBef>
                    <a:spcPct val="0"/>
                  </a:spcBef>
                  <a:spcAft>
                    <a:spcPct val="0"/>
                  </a:spcAft>
                  <a:buClr>
                    <a:schemeClr val="tx2"/>
                  </a:buClr>
                  <a:buSzPct val="89000"/>
                  <a:buFont typeface="Arial" charset="0"/>
                  <a:buChar char="-"/>
                  <a:defRPr>
                    <a:latin typeface="+mn-lt"/>
                    <a:cs typeface="+mn-cs"/>
                  </a:defRPr>
                </a:lvl6pPr>
                <a:lvl7pPr marL="1660525" indent="-130175" defTabSz="895350" fontAlgn="base">
                  <a:spcBef>
                    <a:spcPct val="0"/>
                  </a:spcBef>
                  <a:spcAft>
                    <a:spcPct val="0"/>
                  </a:spcAft>
                  <a:buClr>
                    <a:schemeClr val="tx2"/>
                  </a:buClr>
                  <a:buSzPct val="89000"/>
                  <a:buFont typeface="Arial" charset="0"/>
                  <a:buChar char="-"/>
                  <a:defRPr>
                    <a:latin typeface="+mn-lt"/>
                    <a:cs typeface="+mn-cs"/>
                  </a:defRPr>
                </a:lvl7pPr>
                <a:lvl8pPr marL="2117725" indent="-130175" defTabSz="895350" fontAlgn="base">
                  <a:spcBef>
                    <a:spcPct val="0"/>
                  </a:spcBef>
                  <a:spcAft>
                    <a:spcPct val="0"/>
                  </a:spcAft>
                  <a:buClr>
                    <a:schemeClr val="tx2"/>
                  </a:buClr>
                  <a:buSzPct val="89000"/>
                  <a:buFont typeface="Arial" charset="0"/>
                  <a:buChar char="-"/>
                  <a:defRPr>
                    <a:latin typeface="+mn-lt"/>
                    <a:cs typeface="+mn-cs"/>
                  </a:defRPr>
                </a:lvl8pPr>
                <a:lvl9pPr marL="2574925" indent="-130175" defTabSz="895350" fontAlgn="base">
                  <a:spcBef>
                    <a:spcPct val="0"/>
                  </a:spcBef>
                  <a:spcAft>
                    <a:spcPct val="0"/>
                  </a:spcAft>
                  <a:buClr>
                    <a:schemeClr val="tx2"/>
                  </a:buClr>
                  <a:buSzPct val="89000"/>
                  <a:buFont typeface="Arial" charset="0"/>
                  <a:buChar char="-"/>
                  <a:defRPr>
                    <a:latin typeface="+mn-lt"/>
                    <a:cs typeface="+mn-cs"/>
                  </a:defRPr>
                </a:lvl9pPr>
              </a:lstStyle>
              <a:p>
                <a:pPr lvl="1">
                  <a:spcBef>
                    <a:spcPts val="300"/>
                  </a:spcBef>
                  <a:spcAft>
                    <a:spcPts val="0"/>
                  </a:spcAft>
                </a:pPr>
                <a:r>
                  <a:rPr lang="en-US" sz="1150" dirty="0">
                    <a:cs typeface="Arial" panose="020B0604020202020204" pitchFamily="34" charset="0"/>
                  </a:rPr>
                  <a:t>Ernst &amp; Young – Risk Modelling and risk management</a:t>
                </a:r>
              </a:p>
              <a:p>
                <a:pPr lvl="1">
                  <a:spcBef>
                    <a:spcPts val="300"/>
                  </a:spcBef>
                  <a:spcAft>
                    <a:spcPts val="0"/>
                  </a:spcAft>
                </a:pPr>
                <a:r>
                  <a:rPr lang="en-US" sz="1150" dirty="0">
                    <a:cs typeface="Arial" panose="020B0604020202020204" pitchFamily="34" charset="0"/>
                  </a:rPr>
                  <a:t>Mastercard – Customer behavior analytics</a:t>
                </a:r>
              </a:p>
              <a:p>
                <a:pPr lvl="1">
                  <a:spcBef>
                    <a:spcPts val="300"/>
                  </a:spcBef>
                  <a:spcAft>
                    <a:spcPts val="0"/>
                  </a:spcAft>
                </a:pPr>
                <a:r>
                  <a:rPr lang="en-US" sz="1150" dirty="0">
                    <a:cs typeface="Arial" panose="020B0604020202020204" pitchFamily="34" charset="0"/>
                  </a:rPr>
                  <a:t>Fractal Analytics – pricing and promotion Analytics.  </a:t>
                </a:r>
              </a:p>
            </p:txBody>
          </p:sp>
          <p:sp>
            <p:nvSpPr>
              <p:cNvPr id="44" name="Rectangle 43">
                <a:extLst>
                  <a:ext uri="{FF2B5EF4-FFF2-40B4-BE49-F238E27FC236}">
                    <a16:creationId xmlns:a16="http://schemas.microsoft.com/office/drawing/2014/main" id="{DC28CC7D-1420-44F8-A83B-B59D71AD8692}"/>
                  </a:ext>
                </a:extLst>
              </p:cNvPr>
              <p:cNvSpPr>
                <a:spLocks/>
              </p:cNvSpPr>
              <p:nvPr/>
            </p:nvSpPr>
            <p:spPr>
              <a:xfrm>
                <a:off x="2898288" y="4951722"/>
                <a:ext cx="5839312" cy="184666"/>
              </a:xfrm>
              <a:prstGeom prst="rect">
                <a:avLst/>
              </a:prstGeom>
            </p:spPr>
            <p:txBody>
              <a:bodyPr wrap="square" lIns="0" tIns="0" rIns="0" bIns="0">
                <a:noAutofit/>
              </a:bodyPr>
              <a:lstStyle/>
              <a:p>
                <a:pPr>
                  <a:spcBef>
                    <a:spcPts val="300"/>
                  </a:spcBef>
                  <a:spcAft>
                    <a:spcPts val="0"/>
                  </a:spcAft>
                  <a:buClr>
                    <a:schemeClr val="bg1"/>
                  </a:buClr>
                </a:pPr>
                <a:r>
                  <a:rPr lang="en-GB" sz="1200" b="1" dirty="0">
                    <a:solidFill>
                      <a:schemeClr val="accent4"/>
                    </a:solidFill>
                    <a:latin typeface="+mn-lt"/>
                  </a:rPr>
                  <a:t>Prior work experience</a:t>
                </a:r>
                <a:endParaRPr lang="en-US" sz="1200" b="1" dirty="0">
                  <a:solidFill>
                    <a:schemeClr val="accent4"/>
                  </a:solidFill>
                  <a:latin typeface="+mn-lt"/>
                </a:endParaRPr>
              </a:p>
            </p:txBody>
          </p:sp>
          <p:sp>
            <p:nvSpPr>
              <p:cNvPr id="106" name="Freeform 33"/>
              <p:cNvSpPr>
                <a:spLocks/>
              </p:cNvSpPr>
              <p:nvPr/>
            </p:nvSpPr>
            <p:spPr bwMode="auto">
              <a:xfrm flipH="1">
                <a:off x="2569880" y="5130861"/>
                <a:ext cx="7354" cy="5576"/>
              </a:xfrm>
              <a:custGeom>
                <a:avLst/>
                <a:gdLst>
                  <a:gd name="T0" fmla="*/ 53 w 60"/>
                  <a:gd name="T1" fmla="*/ 1 h 37"/>
                  <a:gd name="T2" fmla="*/ 7 w 60"/>
                  <a:gd name="T3" fmla="*/ 1 h 37"/>
                  <a:gd name="T4" fmla="*/ 3 w 60"/>
                  <a:gd name="T5" fmla="*/ 4 h 37"/>
                  <a:gd name="T6" fmla="*/ 0 w 60"/>
                  <a:gd name="T7" fmla="*/ 10 h 37"/>
                  <a:gd name="T8" fmla="*/ 0 w 60"/>
                  <a:gd name="T9" fmla="*/ 14 h 37"/>
                  <a:gd name="T10" fmla="*/ 11 w 60"/>
                  <a:gd name="T11" fmla="*/ 36 h 37"/>
                  <a:gd name="T12" fmla="*/ 13 w 60"/>
                  <a:gd name="T13" fmla="*/ 37 h 37"/>
                  <a:gd name="T14" fmla="*/ 30 w 60"/>
                  <a:gd name="T15" fmla="*/ 37 h 37"/>
                  <a:gd name="T16" fmla="*/ 46 w 60"/>
                  <a:gd name="T17" fmla="*/ 37 h 37"/>
                  <a:gd name="T18" fmla="*/ 49 w 60"/>
                  <a:gd name="T19" fmla="*/ 36 h 37"/>
                  <a:gd name="T20" fmla="*/ 57 w 60"/>
                  <a:gd name="T21" fmla="*/ 20 h 37"/>
                  <a:gd name="T22" fmla="*/ 57 w 60"/>
                  <a:gd name="T23" fmla="*/ 4 h 37"/>
                  <a:gd name="T24" fmla="*/ 53 w 60"/>
                  <a:gd name="T25" fmla="*/ 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37">
                    <a:moveTo>
                      <a:pt x="53" y="1"/>
                    </a:moveTo>
                    <a:cubicBezTo>
                      <a:pt x="37" y="0"/>
                      <a:pt x="22" y="1"/>
                      <a:pt x="7" y="1"/>
                    </a:cubicBezTo>
                    <a:cubicBezTo>
                      <a:pt x="5" y="1"/>
                      <a:pt x="3" y="2"/>
                      <a:pt x="3" y="4"/>
                    </a:cubicBezTo>
                    <a:cubicBezTo>
                      <a:pt x="2" y="6"/>
                      <a:pt x="1" y="8"/>
                      <a:pt x="0" y="10"/>
                    </a:cubicBezTo>
                    <a:cubicBezTo>
                      <a:pt x="0" y="11"/>
                      <a:pt x="0" y="13"/>
                      <a:pt x="0" y="14"/>
                    </a:cubicBezTo>
                    <a:cubicBezTo>
                      <a:pt x="4" y="21"/>
                      <a:pt x="7" y="28"/>
                      <a:pt x="11" y="36"/>
                    </a:cubicBezTo>
                    <a:cubicBezTo>
                      <a:pt x="11" y="37"/>
                      <a:pt x="12" y="37"/>
                      <a:pt x="13" y="37"/>
                    </a:cubicBezTo>
                    <a:cubicBezTo>
                      <a:pt x="19" y="37"/>
                      <a:pt x="24" y="37"/>
                      <a:pt x="30" y="37"/>
                    </a:cubicBezTo>
                    <a:cubicBezTo>
                      <a:pt x="35" y="37"/>
                      <a:pt x="41" y="37"/>
                      <a:pt x="46" y="37"/>
                    </a:cubicBezTo>
                    <a:cubicBezTo>
                      <a:pt x="47" y="37"/>
                      <a:pt x="48" y="37"/>
                      <a:pt x="49" y="36"/>
                    </a:cubicBezTo>
                    <a:cubicBezTo>
                      <a:pt x="51" y="30"/>
                      <a:pt x="54" y="25"/>
                      <a:pt x="57" y="20"/>
                    </a:cubicBezTo>
                    <a:cubicBezTo>
                      <a:pt x="60" y="15"/>
                      <a:pt x="60" y="10"/>
                      <a:pt x="57" y="4"/>
                    </a:cubicBezTo>
                    <a:cubicBezTo>
                      <a:pt x="56" y="2"/>
                      <a:pt x="55" y="1"/>
                      <a:pt x="53" y="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spcAft>
                    <a:spcPts val="0"/>
                  </a:spcAft>
                </a:pPr>
                <a:endParaRPr lang="en-US" sz="1200" dirty="0">
                  <a:latin typeface="+mn-lt"/>
                </a:endParaRPr>
              </a:p>
            </p:txBody>
          </p:sp>
        </p:grpSp>
      </p:grpSp>
      <p:sp>
        <p:nvSpPr>
          <p:cNvPr id="66" name="3. Unit of measure"/>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Senior Analyst , Capabilities and Insights </a:t>
            </a:r>
          </a:p>
        </p:txBody>
      </p:sp>
      <p:pic>
        <p:nvPicPr>
          <p:cNvPr id="2" name="Picture 1">
            <a:extLst>
              <a:ext uri="{FF2B5EF4-FFF2-40B4-BE49-F238E27FC236}">
                <a16:creationId xmlns:a16="http://schemas.microsoft.com/office/drawing/2014/main" id="{2FBF20D8-3CA1-47BD-A723-A7DBC2136B02}"/>
              </a:ext>
            </a:extLst>
          </p:cNvPr>
          <p:cNvPicPr>
            <a:picLocks noChangeAspect="1"/>
          </p:cNvPicPr>
          <p:nvPr/>
        </p:nvPicPr>
        <p:blipFill>
          <a:blip r:embed="rId9"/>
          <a:stretch>
            <a:fillRect/>
          </a:stretch>
        </p:blipFill>
        <p:spPr>
          <a:xfrm>
            <a:off x="2457877" y="3446319"/>
            <a:ext cx="381000" cy="361950"/>
          </a:xfrm>
          <a:prstGeom prst="rect">
            <a:avLst/>
          </a:prstGeom>
        </p:spPr>
      </p:pic>
      <p:pic>
        <p:nvPicPr>
          <p:cNvPr id="7" name="Picture 6">
            <a:extLst>
              <a:ext uri="{FF2B5EF4-FFF2-40B4-BE49-F238E27FC236}">
                <a16:creationId xmlns:a16="http://schemas.microsoft.com/office/drawing/2014/main" id="{1DCF9CAE-64F7-4705-B88F-B2A95904B0A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58750" y="924444"/>
            <a:ext cx="1503795" cy="1455733"/>
          </a:xfrm>
          <a:prstGeom prst="rect">
            <a:avLst/>
          </a:prstGeom>
        </p:spPr>
      </p:pic>
      <p:sp>
        <p:nvSpPr>
          <p:cNvPr id="52" name="TextBox 51">
            <a:extLst>
              <a:ext uri="{FF2B5EF4-FFF2-40B4-BE49-F238E27FC236}">
                <a16:creationId xmlns:a16="http://schemas.microsoft.com/office/drawing/2014/main" id="{A5CA0E76-33D1-4423-BFEF-9703A39513C3}"/>
              </a:ext>
            </a:extLst>
          </p:cNvPr>
          <p:cNvSpPr txBox="1">
            <a:spLocks/>
          </p:cNvSpPr>
          <p:nvPr/>
        </p:nvSpPr>
        <p:spPr>
          <a:xfrm>
            <a:off x="2718697" y="6234457"/>
            <a:ext cx="5839312" cy="17697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342900" lvl="0" indent="-342900" defTabSz="895350">
              <a:buClr>
                <a:schemeClr val="tx2"/>
              </a:buClr>
              <a:defRPr>
                <a:latin typeface="+mn-lt"/>
                <a:cs typeface="+mn-cs"/>
              </a:defRPr>
            </a:lvl1pPr>
            <a:lvl2pPr marL="193675" lvl="1" indent="-192088" defTabSz="895350">
              <a:buClr>
                <a:schemeClr val="tx2"/>
              </a:buClr>
              <a:buSzPct val="125000"/>
              <a:buFont typeface="Arial" panose="020B0604020202020204" pitchFamily="34" charset="0"/>
              <a:buChar char="▪"/>
              <a:defRPr>
                <a:latin typeface="+mn-lt"/>
                <a:cs typeface="+mn-cs"/>
              </a:defRPr>
            </a:lvl2pPr>
            <a:lvl3pPr marL="457200" lvl="2" indent="-261938" defTabSz="895350">
              <a:buClr>
                <a:schemeClr val="tx2"/>
              </a:buClr>
              <a:buSzPct val="120000"/>
              <a:buFont typeface="Arial" panose="020B0604020202020204" pitchFamily="34" charset="0"/>
              <a:buChar char="–"/>
              <a:defRPr>
                <a:latin typeface="+mn-lt"/>
                <a:cs typeface="+mn-cs"/>
              </a:defRPr>
            </a:lvl3pPr>
            <a:lvl4pPr marL="614363" lvl="3" indent="-155575" defTabSz="895350">
              <a:buClr>
                <a:schemeClr val="tx2"/>
              </a:buClr>
              <a:buSzPct val="120000"/>
              <a:buFont typeface="Arial" panose="020B0604020202020204" pitchFamily="34" charset="0"/>
              <a:buChar char="▫"/>
              <a:defRPr>
                <a:latin typeface="+mn-lt"/>
                <a:cs typeface="+mn-cs"/>
              </a:defRPr>
            </a:lvl4pPr>
            <a:lvl5pPr marL="746125" lvl="4" indent="-130175" defTabSz="895350">
              <a:buClr>
                <a:schemeClr val="tx2"/>
              </a:buClr>
              <a:buSzPct val="89000"/>
              <a:buFont typeface="Arial" panose="020B0604020202020204" pitchFamily="34" charset="0"/>
              <a:buChar char="-"/>
              <a:defRPr>
                <a:latin typeface="+mn-lt"/>
                <a:cs typeface="+mn-cs"/>
              </a:defRPr>
            </a:lvl5pPr>
            <a:lvl6pPr marL="1203325" indent="-130175" defTabSz="895350" fontAlgn="base">
              <a:spcBef>
                <a:spcPct val="0"/>
              </a:spcBef>
              <a:spcAft>
                <a:spcPct val="0"/>
              </a:spcAft>
              <a:buClr>
                <a:schemeClr val="tx2"/>
              </a:buClr>
              <a:buSzPct val="89000"/>
              <a:buFont typeface="Arial" charset="0"/>
              <a:buChar char="-"/>
              <a:defRPr>
                <a:latin typeface="+mn-lt"/>
                <a:cs typeface="+mn-cs"/>
              </a:defRPr>
            </a:lvl6pPr>
            <a:lvl7pPr marL="1660525" indent="-130175" defTabSz="895350" fontAlgn="base">
              <a:spcBef>
                <a:spcPct val="0"/>
              </a:spcBef>
              <a:spcAft>
                <a:spcPct val="0"/>
              </a:spcAft>
              <a:buClr>
                <a:schemeClr val="tx2"/>
              </a:buClr>
              <a:buSzPct val="89000"/>
              <a:buFont typeface="Arial" charset="0"/>
              <a:buChar char="-"/>
              <a:defRPr>
                <a:latin typeface="+mn-lt"/>
                <a:cs typeface="+mn-cs"/>
              </a:defRPr>
            </a:lvl7pPr>
            <a:lvl8pPr marL="2117725" indent="-130175" defTabSz="895350" fontAlgn="base">
              <a:spcBef>
                <a:spcPct val="0"/>
              </a:spcBef>
              <a:spcAft>
                <a:spcPct val="0"/>
              </a:spcAft>
              <a:buClr>
                <a:schemeClr val="tx2"/>
              </a:buClr>
              <a:buSzPct val="89000"/>
              <a:buFont typeface="Arial" charset="0"/>
              <a:buChar char="-"/>
              <a:defRPr>
                <a:latin typeface="+mn-lt"/>
                <a:cs typeface="+mn-cs"/>
              </a:defRPr>
            </a:lvl8pPr>
            <a:lvl9pPr marL="2574925" indent="-130175" defTabSz="895350" fontAlgn="base">
              <a:spcBef>
                <a:spcPct val="0"/>
              </a:spcBef>
              <a:spcAft>
                <a:spcPct val="0"/>
              </a:spcAft>
              <a:buClr>
                <a:schemeClr val="tx2"/>
              </a:buClr>
              <a:buSzPct val="89000"/>
              <a:buFont typeface="Arial" charset="0"/>
              <a:buChar char="-"/>
              <a:defRPr>
                <a:latin typeface="+mn-lt"/>
                <a:cs typeface="+mn-cs"/>
              </a:defRPr>
            </a:lvl9pPr>
          </a:lstStyle>
          <a:p>
            <a:pPr lvl="1">
              <a:spcBef>
                <a:spcPts val="300"/>
              </a:spcBef>
              <a:spcAft>
                <a:spcPts val="0"/>
              </a:spcAft>
            </a:pPr>
            <a:r>
              <a:rPr lang="en-US" sz="1150" dirty="0" err="1">
                <a:cs typeface="Arial" panose="020B0604020202020204" pitchFamily="34" charset="0"/>
              </a:rPr>
              <a:t>B.Tech</a:t>
            </a:r>
            <a:r>
              <a:rPr lang="en-US" sz="1150" dirty="0">
                <a:cs typeface="Arial" panose="020B0604020202020204" pitchFamily="34" charset="0"/>
              </a:rPr>
              <a:t> from IIT Kanpur</a:t>
            </a:r>
          </a:p>
        </p:txBody>
      </p:sp>
      <p:sp>
        <p:nvSpPr>
          <p:cNvPr id="53" name="Oval 52">
            <a:extLst>
              <a:ext uri="{FF2B5EF4-FFF2-40B4-BE49-F238E27FC236}">
                <a16:creationId xmlns:a16="http://schemas.microsoft.com/office/drawing/2014/main" id="{93896AAC-0647-431E-8F9A-25CCE7A59912}"/>
              </a:ext>
            </a:extLst>
          </p:cNvPr>
          <p:cNvSpPr/>
          <p:nvPr/>
        </p:nvSpPr>
        <p:spPr>
          <a:xfrm>
            <a:off x="2446148" y="5084412"/>
            <a:ext cx="290994" cy="290896"/>
          </a:xfrm>
          <a:prstGeom prst="ellipse">
            <a:avLst/>
          </a:prstGeom>
          <a:solidFill>
            <a:schemeClr val="bg1"/>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spcAft>
                <a:spcPts val="0"/>
              </a:spcAft>
            </a:pPr>
            <a:endParaRPr lang="en-US" sz="1200" dirty="0">
              <a:solidFill>
                <a:schemeClr val="tx1"/>
              </a:solidFill>
            </a:endParaRPr>
          </a:p>
        </p:txBody>
      </p:sp>
      <p:sp>
        <p:nvSpPr>
          <p:cNvPr id="54" name="Freeform 28">
            <a:extLst>
              <a:ext uri="{FF2B5EF4-FFF2-40B4-BE49-F238E27FC236}">
                <a16:creationId xmlns:a16="http://schemas.microsoft.com/office/drawing/2014/main" id="{D636979C-7654-4341-9634-C513FFC4F6DC}"/>
              </a:ext>
            </a:extLst>
          </p:cNvPr>
          <p:cNvSpPr>
            <a:spLocks/>
          </p:cNvSpPr>
          <p:nvPr/>
        </p:nvSpPr>
        <p:spPr bwMode="auto">
          <a:xfrm flipH="1">
            <a:off x="2591232" y="5172566"/>
            <a:ext cx="63087" cy="104080"/>
          </a:xfrm>
          <a:custGeom>
            <a:avLst/>
            <a:gdLst>
              <a:gd name="T0" fmla="*/ 448 w 509"/>
              <a:gd name="T1" fmla="*/ 693 h 700"/>
              <a:gd name="T2" fmla="*/ 448 w 509"/>
              <a:gd name="T3" fmla="*/ 672 h 700"/>
              <a:gd name="T4" fmla="*/ 494 w 509"/>
              <a:gd name="T5" fmla="*/ 558 h 700"/>
              <a:gd name="T6" fmla="*/ 503 w 509"/>
              <a:gd name="T7" fmla="*/ 512 h 700"/>
              <a:gd name="T8" fmla="*/ 450 w 509"/>
              <a:gd name="T9" fmla="*/ 117 h 700"/>
              <a:gd name="T10" fmla="*/ 441 w 509"/>
              <a:gd name="T11" fmla="*/ 102 h 700"/>
              <a:gd name="T12" fmla="*/ 391 w 509"/>
              <a:gd name="T13" fmla="*/ 69 h 700"/>
              <a:gd name="T14" fmla="*/ 340 w 509"/>
              <a:gd name="T15" fmla="*/ 0 h 700"/>
              <a:gd name="T16" fmla="*/ 339 w 509"/>
              <a:gd name="T17" fmla="*/ 0 h 700"/>
              <a:gd name="T18" fmla="*/ 27 w 509"/>
              <a:gd name="T19" fmla="*/ 127 h 700"/>
              <a:gd name="T20" fmla="*/ 18 w 509"/>
              <a:gd name="T21" fmla="*/ 142 h 700"/>
              <a:gd name="T22" fmla="*/ 14 w 509"/>
              <a:gd name="T23" fmla="*/ 401 h 700"/>
              <a:gd name="T24" fmla="*/ 104 w 509"/>
              <a:gd name="T25" fmla="*/ 659 h 700"/>
              <a:gd name="T26" fmla="*/ 124 w 509"/>
              <a:gd name="T27" fmla="*/ 673 h 700"/>
              <a:gd name="T28" fmla="*/ 306 w 509"/>
              <a:gd name="T29" fmla="*/ 697 h 700"/>
              <a:gd name="T30" fmla="*/ 448 w 509"/>
              <a:gd name="T31" fmla="*/ 693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9" h="700">
                <a:moveTo>
                  <a:pt x="448" y="693"/>
                </a:moveTo>
                <a:cubicBezTo>
                  <a:pt x="448" y="683"/>
                  <a:pt x="448" y="678"/>
                  <a:pt x="448" y="672"/>
                </a:cubicBezTo>
                <a:cubicBezTo>
                  <a:pt x="448" y="628"/>
                  <a:pt x="462" y="588"/>
                  <a:pt x="494" y="558"/>
                </a:cubicBezTo>
                <a:cubicBezTo>
                  <a:pt x="509" y="543"/>
                  <a:pt x="509" y="530"/>
                  <a:pt x="503" y="512"/>
                </a:cubicBezTo>
                <a:cubicBezTo>
                  <a:pt x="461" y="384"/>
                  <a:pt x="441" y="252"/>
                  <a:pt x="450" y="117"/>
                </a:cubicBezTo>
                <a:cubicBezTo>
                  <a:pt x="450" y="112"/>
                  <a:pt x="445" y="105"/>
                  <a:pt x="441" y="102"/>
                </a:cubicBezTo>
                <a:cubicBezTo>
                  <a:pt x="424" y="91"/>
                  <a:pt x="404" y="83"/>
                  <a:pt x="391" y="69"/>
                </a:cubicBezTo>
                <a:cubicBezTo>
                  <a:pt x="372" y="49"/>
                  <a:pt x="358" y="25"/>
                  <a:pt x="340" y="0"/>
                </a:cubicBezTo>
                <a:cubicBezTo>
                  <a:pt x="343" y="1"/>
                  <a:pt x="341" y="0"/>
                  <a:pt x="339" y="0"/>
                </a:cubicBezTo>
                <a:cubicBezTo>
                  <a:pt x="228" y="26"/>
                  <a:pt x="124" y="67"/>
                  <a:pt x="27" y="127"/>
                </a:cubicBezTo>
                <a:cubicBezTo>
                  <a:pt x="23" y="130"/>
                  <a:pt x="19" y="137"/>
                  <a:pt x="18" y="142"/>
                </a:cubicBezTo>
                <a:cubicBezTo>
                  <a:pt x="2" y="228"/>
                  <a:pt x="0" y="314"/>
                  <a:pt x="14" y="401"/>
                </a:cubicBezTo>
                <a:cubicBezTo>
                  <a:pt x="29" y="493"/>
                  <a:pt x="58" y="579"/>
                  <a:pt x="104" y="659"/>
                </a:cubicBezTo>
                <a:cubicBezTo>
                  <a:pt x="108" y="666"/>
                  <a:pt x="116" y="672"/>
                  <a:pt x="124" y="673"/>
                </a:cubicBezTo>
                <a:cubicBezTo>
                  <a:pt x="184" y="682"/>
                  <a:pt x="245" y="692"/>
                  <a:pt x="306" y="697"/>
                </a:cubicBezTo>
                <a:cubicBezTo>
                  <a:pt x="352" y="700"/>
                  <a:pt x="400" y="695"/>
                  <a:pt x="448" y="69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spcAft>
                <a:spcPts val="0"/>
              </a:spcAft>
            </a:pPr>
            <a:endParaRPr lang="en-US" sz="1200" dirty="0">
              <a:latin typeface="+mn-lt"/>
            </a:endParaRPr>
          </a:p>
        </p:txBody>
      </p:sp>
      <p:sp>
        <p:nvSpPr>
          <p:cNvPr id="55" name="Freeform 28">
            <a:extLst>
              <a:ext uri="{FF2B5EF4-FFF2-40B4-BE49-F238E27FC236}">
                <a16:creationId xmlns:a16="http://schemas.microsoft.com/office/drawing/2014/main" id="{CE744AEB-D863-4112-9946-4024E5A4C61A}"/>
              </a:ext>
            </a:extLst>
          </p:cNvPr>
          <p:cNvSpPr>
            <a:spLocks/>
          </p:cNvSpPr>
          <p:nvPr/>
        </p:nvSpPr>
        <p:spPr bwMode="auto">
          <a:xfrm flipH="1">
            <a:off x="2572760" y="5200276"/>
            <a:ext cx="63087" cy="104080"/>
          </a:xfrm>
          <a:custGeom>
            <a:avLst/>
            <a:gdLst>
              <a:gd name="T0" fmla="*/ 448 w 509"/>
              <a:gd name="T1" fmla="*/ 693 h 700"/>
              <a:gd name="T2" fmla="*/ 448 w 509"/>
              <a:gd name="T3" fmla="*/ 672 h 700"/>
              <a:gd name="T4" fmla="*/ 494 w 509"/>
              <a:gd name="T5" fmla="*/ 558 h 700"/>
              <a:gd name="T6" fmla="*/ 503 w 509"/>
              <a:gd name="T7" fmla="*/ 512 h 700"/>
              <a:gd name="T8" fmla="*/ 450 w 509"/>
              <a:gd name="T9" fmla="*/ 117 h 700"/>
              <a:gd name="T10" fmla="*/ 441 w 509"/>
              <a:gd name="T11" fmla="*/ 102 h 700"/>
              <a:gd name="T12" fmla="*/ 391 w 509"/>
              <a:gd name="T13" fmla="*/ 69 h 700"/>
              <a:gd name="T14" fmla="*/ 340 w 509"/>
              <a:gd name="T15" fmla="*/ 0 h 700"/>
              <a:gd name="T16" fmla="*/ 339 w 509"/>
              <a:gd name="T17" fmla="*/ 0 h 700"/>
              <a:gd name="T18" fmla="*/ 27 w 509"/>
              <a:gd name="T19" fmla="*/ 127 h 700"/>
              <a:gd name="T20" fmla="*/ 18 w 509"/>
              <a:gd name="T21" fmla="*/ 142 h 700"/>
              <a:gd name="T22" fmla="*/ 14 w 509"/>
              <a:gd name="T23" fmla="*/ 401 h 700"/>
              <a:gd name="T24" fmla="*/ 104 w 509"/>
              <a:gd name="T25" fmla="*/ 659 h 700"/>
              <a:gd name="T26" fmla="*/ 124 w 509"/>
              <a:gd name="T27" fmla="*/ 673 h 700"/>
              <a:gd name="T28" fmla="*/ 306 w 509"/>
              <a:gd name="T29" fmla="*/ 697 h 700"/>
              <a:gd name="T30" fmla="*/ 448 w 509"/>
              <a:gd name="T31" fmla="*/ 693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9" h="700">
                <a:moveTo>
                  <a:pt x="448" y="693"/>
                </a:moveTo>
                <a:cubicBezTo>
                  <a:pt x="448" y="683"/>
                  <a:pt x="448" y="678"/>
                  <a:pt x="448" y="672"/>
                </a:cubicBezTo>
                <a:cubicBezTo>
                  <a:pt x="448" y="628"/>
                  <a:pt x="462" y="588"/>
                  <a:pt x="494" y="558"/>
                </a:cubicBezTo>
                <a:cubicBezTo>
                  <a:pt x="509" y="543"/>
                  <a:pt x="509" y="530"/>
                  <a:pt x="503" y="512"/>
                </a:cubicBezTo>
                <a:cubicBezTo>
                  <a:pt x="461" y="384"/>
                  <a:pt x="441" y="252"/>
                  <a:pt x="450" y="117"/>
                </a:cubicBezTo>
                <a:cubicBezTo>
                  <a:pt x="450" y="112"/>
                  <a:pt x="445" y="105"/>
                  <a:pt x="441" y="102"/>
                </a:cubicBezTo>
                <a:cubicBezTo>
                  <a:pt x="424" y="91"/>
                  <a:pt x="404" y="83"/>
                  <a:pt x="391" y="69"/>
                </a:cubicBezTo>
                <a:cubicBezTo>
                  <a:pt x="372" y="49"/>
                  <a:pt x="358" y="25"/>
                  <a:pt x="340" y="0"/>
                </a:cubicBezTo>
                <a:cubicBezTo>
                  <a:pt x="343" y="1"/>
                  <a:pt x="341" y="0"/>
                  <a:pt x="339" y="0"/>
                </a:cubicBezTo>
                <a:cubicBezTo>
                  <a:pt x="228" y="26"/>
                  <a:pt x="124" y="67"/>
                  <a:pt x="27" y="127"/>
                </a:cubicBezTo>
                <a:cubicBezTo>
                  <a:pt x="23" y="130"/>
                  <a:pt x="19" y="137"/>
                  <a:pt x="18" y="142"/>
                </a:cubicBezTo>
                <a:cubicBezTo>
                  <a:pt x="2" y="228"/>
                  <a:pt x="0" y="314"/>
                  <a:pt x="14" y="401"/>
                </a:cubicBezTo>
                <a:cubicBezTo>
                  <a:pt x="29" y="493"/>
                  <a:pt x="58" y="579"/>
                  <a:pt x="104" y="659"/>
                </a:cubicBezTo>
                <a:cubicBezTo>
                  <a:pt x="108" y="666"/>
                  <a:pt x="116" y="672"/>
                  <a:pt x="124" y="673"/>
                </a:cubicBezTo>
                <a:cubicBezTo>
                  <a:pt x="184" y="682"/>
                  <a:pt x="245" y="692"/>
                  <a:pt x="306" y="697"/>
                </a:cubicBezTo>
                <a:cubicBezTo>
                  <a:pt x="352" y="700"/>
                  <a:pt x="400" y="695"/>
                  <a:pt x="448" y="69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spcAft>
                <a:spcPts val="0"/>
              </a:spcAft>
            </a:pPr>
            <a:endParaRPr lang="en-US" sz="1200" dirty="0">
              <a:latin typeface="+mn-lt"/>
            </a:endParaRPr>
          </a:p>
        </p:txBody>
      </p:sp>
      <p:sp>
        <p:nvSpPr>
          <p:cNvPr id="56" name="Freeform 32">
            <a:extLst>
              <a:ext uri="{FF2B5EF4-FFF2-40B4-BE49-F238E27FC236}">
                <a16:creationId xmlns:a16="http://schemas.microsoft.com/office/drawing/2014/main" id="{5AA2A2BD-C467-4BED-8E92-FD6433A0B820}"/>
              </a:ext>
            </a:extLst>
          </p:cNvPr>
          <p:cNvSpPr>
            <a:spLocks/>
          </p:cNvSpPr>
          <p:nvPr/>
        </p:nvSpPr>
        <p:spPr bwMode="auto">
          <a:xfrm flipH="1">
            <a:off x="2492953" y="5184734"/>
            <a:ext cx="63655" cy="170698"/>
          </a:xfrm>
          <a:custGeom>
            <a:avLst/>
            <a:gdLst>
              <a:gd name="T0" fmla="*/ 452 w 546"/>
              <a:gd name="T1" fmla="*/ 0 h 1130"/>
              <a:gd name="T2" fmla="*/ 366 w 546"/>
              <a:gd name="T3" fmla="*/ 0 h 1130"/>
              <a:gd name="T4" fmla="*/ 306 w 546"/>
              <a:gd name="T5" fmla="*/ 116 h 1130"/>
              <a:gd name="T6" fmla="*/ 300 w 546"/>
              <a:gd name="T7" fmla="*/ 87 h 1130"/>
              <a:gd name="T8" fmla="*/ 290 w 546"/>
              <a:gd name="T9" fmla="*/ 45 h 1130"/>
              <a:gd name="T10" fmla="*/ 257 w 546"/>
              <a:gd name="T11" fmla="*/ 45 h 1130"/>
              <a:gd name="T12" fmla="*/ 255 w 546"/>
              <a:gd name="T13" fmla="*/ 47 h 1130"/>
              <a:gd name="T14" fmla="*/ 242 w 546"/>
              <a:gd name="T15" fmla="*/ 109 h 1130"/>
              <a:gd name="T16" fmla="*/ 240 w 546"/>
              <a:gd name="T17" fmla="*/ 116 h 1130"/>
              <a:gd name="T18" fmla="*/ 180 w 546"/>
              <a:gd name="T19" fmla="*/ 0 h 1130"/>
              <a:gd name="T20" fmla="*/ 94 w 546"/>
              <a:gd name="T21" fmla="*/ 0 h 1130"/>
              <a:gd name="T22" fmla="*/ 0 w 546"/>
              <a:gd name="T23" fmla="*/ 98 h 1130"/>
              <a:gd name="T24" fmla="*/ 0 w 546"/>
              <a:gd name="T25" fmla="*/ 473 h 1130"/>
              <a:gd name="T26" fmla="*/ 86 w 546"/>
              <a:gd name="T27" fmla="*/ 571 h 1130"/>
              <a:gd name="T28" fmla="*/ 126 w 546"/>
              <a:gd name="T29" fmla="*/ 1027 h 1130"/>
              <a:gd name="T30" fmla="*/ 205 w 546"/>
              <a:gd name="T31" fmla="*/ 1129 h 1130"/>
              <a:gd name="T32" fmla="*/ 342 w 546"/>
              <a:gd name="T33" fmla="*/ 1129 h 1130"/>
              <a:gd name="T34" fmla="*/ 420 w 546"/>
              <a:gd name="T35" fmla="*/ 1027 h 1130"/>
              <a:gd name="T36" fmla="*/ 460 w 546"/>
              <a:gd name="T37" fmla="*/ 571 h 1130"/>
              <a:gd name="T38" fmla="*/ 546 w 546"/>
              <a:gd name="T39" fmla="*/ 473 h 1130"/>
              <a:gd name="T40" fmla="*/ 546 w 546"/>
              <a:gd name="T41" fmla="*/ 98 h 1130"/>
              <a:gd name="T42" fmla="*/ 452 w 546"/>
              <a:gd name="T43" fmla="*/ 0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6" h="1130">
                <a:moveTo>
                  <a:pt x="452" y="0"/>
                </a:moveTo>
                <a:cubicBezTo>
                  <a:pt x="366" y="0"/>
                  <a:pt x="366" y="0"/>
                  <a:pt x="366" y="0"/>
                </a:cubicBezTo>
                <a:cubicBezTo>
                  <a:pt x="306" y="116"/>
                  <a:pt x="306" y="116"/>
                  <a:pt x="306" y="116"/>
                </a:cubicBezTo>
                <a:cubicBezTo>
                  <a:pt x="304" y="106"/>
                  <a:pt x="302" y="97"/>
                  <a:pt x="300" y="87"/>
                </a:cubicBezTo>
                <a:cubicBezTo>
                  <a:pt x="297" y="73"/>
                  <a:pt x="294" y="59"/>
                  <a:pt x="290" y="45"/>
                </a:cubicBezTo>
                <a:cubicBezTo>
                  <a:pt x="279" y="45"/>
                  <a:pt x="268" y="45"/>
                  <a:pt x="257" y="45"/>
                </a:cubicBezTo>
                <a:cubicBezTo>
                  <a:pt x="255" y="45"/>
                  <a:pt x="255" y="46"/>
                  <a:pt x="255" y="47"/>
                </a:cubicBezTo>
                <a:cubicBezTo>
                  <a:pt x="250" y="67"/>
                  <a:pt x="246" y="88"/>
                  <a:pt x="242" y="109"/>
                </a:cubicBezTo>
                <a:cubicBezTo>
                  <a:pt x="241" y="111"/>
                  <a:pt x="240" y="113"/>
                  <a:pt x="240" y="116"/>
                </a:cubicBezTo>
                <a:cubicBezTo>
                  <a:pt x="180" y="0"/>
                  <a:pt x="180" y="0"/>
                  <a:pt x="180" y="0"/>
                </a:cubicBezTo>
                <a:cubicBezTo>
                  <a:pt x="94" y="0"/>
                  <a:pt x="94" y="0"/>
                  <a:pt x="94" y="0"/>
                </a:cubicBezTo>
                <a:cubicBezTo>
                  <a:pt x="42" y="0"/>
                  <a:pt x="0" y="44"/>
                  <a:pt x="0" y="98"/>
                </a:cubicBezTo>
                <a:cubicBezTo>
                  <a:pt x="0" y="473"/>
                  <a:pt x="0" y="473"/>
                  <a:pt x="0" y="473"/>
                </a:cubicBezTo>
                <a:cubicBezTo>
                  <a:pt x="0" y="524"/>
                  <a:pt x="38" y="566"/>
                  <a:pt x="86" y="571"/>
                </a:cubicBezTo>
                <a:cubicBezTo>
                  <a:pt x="99" y="721"/>
                  <a:pt x="113" y="873"/>
                  <a:pt x="126" y="1027"/>
                </a:cubicBezTo>
                <a:cubicBezTo>
                  <a:pt x="131" y="1081"/>
                  <a:pt x="166" y="1127"/>
                  <a:pt x="205" y="1129"/>
                </a:cubicBezTo>
                <a:cubicBezTo>
                  <a:pt x="250" y="1130"/>
                  <a:pt x="296" y="1130"/>
                  <a:pt x="342" y="1129"/>
                </a:cubicBezTo>
                <a:cubicBezTo>
                  <a:pt x="380" y="1127"/>
                  <a:pt x="415" y="1081"/>
                  <a:pt x="420" y="1027"/>
                </a:cubicBezTo>
                <a:cubicBezTo>
                  <a:pt x="433" y="873"/>
                  <a:pt x="447" y="721"/>
                  <a:pt x="460" y="571"/>
                </a:cubicBezTo>
                <a:cubicBezTo>
                  <a:pt x="509" y="566"/>
                  <a:pt x="546" y="524"/>
                  <a:pt x="546" y="473"/>
                </a:cubicBezTo>
                <a:cubicBezTo>
                  <a:pt x="546" y="98"/>
                  <a:pt x="546" y="98"/>
                  <a:pt x="546" y="98"/>
                </a:cubicBezTo>
                <a:cubicBezTo>
                  <a:pt x="546" y="44"/>
                  <a:pt x="504" y="0"/>
                  <a:pt x="452"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spcAft>
                <a:spcPts val="0"/>
              </a:spcAft>
            </a:pPr>
            <a:endParaRPr lang="en-US" sz="1200" dirty="0">
              <a:latin typeface="+mn-lt"/>
            </a:endParaRPr>
          </a:p>
        </p:txBody>
      </p:sp>
      <p:sp>
        <p:nvSpPr>
          <p:cNvPr id="57" name="Freeform 31">
            <a:extLst>
              <a:ext uri="{FF2B5EF4-FFF2-40B4-BE49-F238E27FC236}">
                <a16:creationId xmlns:a16="http://schemas.microsoft.com/office/drawing/2014/main" id="{EBD139B1-FFE9-4D2C-A330-48A01F5E4786}"/>
              </a:ext>
            </a:extLst>
          </p:cNvPr>
          <p:cNvSpPr>
            <a:spLocks/>
          </p:cNvSpPr>
          <p:nvPr/>
        </p:nvSpPr>
        <p:spPr bwMode="auto">
          <a:xfrm flipH="1">
            <a:off x="2489307" y="5184325"/>
            <a:ext cx="30030" cy="37679"/>
          </a:xfrm>
          <a:custGeom>
            <a:avLst/>
            <a:gdLst>
              <a:gd name="T0" fmla="*/ 162 w 323"/>
              <a:gd name="T1" fmla="*/ 371 h 371"/>
              <a:gd name="T2" fmla="*/ 323 w 323"/>
              <a:gd name="T3" fmla="*/ 172 h 371"/>
              <a:gd name="T4" fmla="*/ 162 w 323"/>
              <a:gd name="T5" fmla="*/ 0 h 371"/>
              <a:gd name="T6" fmla="*/ 1 w 323"/>
              <a:gd name="T7" fmla="*/ 172 h 371"/>
              <a:gd name="T8" fmla="*/ 162 w 323"/>
              <a:gd name="T9" fmla="*/ 371 h 371"/>
            </a:gdLst>
            <a:ahLst/>
            <a:cxnLst>
              <a:cxn ang="0">
                <a:pos x="T0" y="T1"/>
              </a:cxn>
              <a:cxn ang="0">
                <a:pos x="T2" y="T3"/>
              </a:cxn>
              <a:cxn ang="0">
                <a:pos x="T4" y="T5"/>
              </a:cxn>
              <a:cxn ang="0">
                <a:pos x="T6" y="T7"/>
              </a:cxn>
              <a:cxn ang="0">
                <a:pos x="T8" y="T9"/>
              </a:cxn>
            </a:cxnLst>
            <a:rect l="0" t="0" r="r" b="b"/>
            <a:pathLst>
              <a:path w="323" h="371">
                <a:moveTo>
                  <a:pt x="162" y="371"/>
                </a:moveTo>
                <a:cubicBezTo>
                  <a:pt x="252" y="370"/>
                  <a:pt x="323" y="264"/>
                  <a:pt x="323" y="172"/>
                </a:cubicBezTo>
                <a:cubicBezTo>
                  <a:pt x="323" y="80"/>
                  <a:pt x="251" y="1"/>
                  <a:pt x="162" y="0"/>
                </a:cubicBezTo>
                <a:cubicBezTo>
                  <a:pt x="73" y="1"/>
                  <a:pt x="0" y="80"/>
                  <a:pt x="1" y="172"/>
                </a:cubicBezTo>
                <a:cubicBezTo>
                  <a:pt x="1" y="264"/>
                  <a:pt x="71" y="370"/>
                  <a:pt x="162" y="37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spcBef>
                <a:spcPts val="300"/>
              </a:spcBef>
              <a:spcAft>
                <a:spcPts val="0"/>
              </a:spcAft>
            </a:pPr>
            <a:endParaRPr lang="en-US" sz="1200" dirty="0">
              <a:latin typeface="+mn-lt"/>
            </a:endParaRPr>
          </a:p>
        </p:txBody>
      </p:sp>
    </p:spTree>
    <p:extLst>
      <p:ext uri="{BB962C8B-B14F-4D97-AF65-F5344CB8AC3E}">
        <p14:creationId xmlns:p14="http://schemas.microsoft.com/office/powerpoint/2010/main" val="36282396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lt;root reqver=&quot;23045&quot;&gt;&lt;version val=&quot;2412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4&quot;&gt;&lt;elem m_fUsage=&quot;2.30048999999999990000E+000&quot;&gt;&lt;m_msothmcolidx val=&quot;0&quot;/&gt;&lt;m_rgb r=&quot;66&quot; g=&quot;66&quot; b=&quot;66&quot;/&gt;&lt;m_nBrightness val=&quot;0&quot;/&gt;&lt;/elem&gt;&lt;elem m_fUsage=&quot;1.00000000000000000000E+000&quot;&gt;&lt;m_msothmcolidx val=&quot;0&quot;/&gt;&lt;m_rgb r=&quot;F2&quot; g=&quot;7F&quot; b=&quot;00&quot;/&gt;&lt;m_nBrightness val=&quot;0&quot;/&gt;&lt;/elem&gt;&lt;elem m_fUsage=&quot;7.29000000000000090000E-001&quot;&gt;&lt;m_msothmcolidx val=&quot;0&quot;/&gt;&lt;m_rgb r=&quot;CD&quot; g=&quot;20&quot; b=&quot;2C&quot;/&gt;&lt;m_nBrightness val=&quot;0&quot;/&gt;&lt;/elem&gt;&lt;elem m_fUsage=&quot;6.56100000000000130000E-001&quot;&gt;&lt;m_msothmcolidx val=&quot;0&quot;/&gt;&lt;m_rgb r=&quot;A3&quot; g=&quot;B3&quot; b=&quot;00&quot;/&gt;&lt;m_nBrightness val=&quot;0&quot;/&gt;&lt;/elem&gt;&lt;/m_vecMRU&gt;&lt;/m_mruColor&gt;&lt;m_eweekdayFirstOfWeek val=&quot;2&quot;/&gt;&lt;m_eweekdayFirstOfWorkweek val=&quot;2&quot;/&gt;&lt;m_eweekdayFirstOfWeekend val=&quot;7&quot;/&gt;&lt;/CPresentation&gt;&lt;/root&gt;"/>
  <p:tag name="TPVERSION" val="5"/>
  <p:tag name="TPFULLVERSION" val="5.3.2.24"/>
  <p:tag name="PPTVERSION" val="14"/>
  <p:tag name="TPOS" val="2"/>
  <p:tag name="APLORISREVISION" val="9"/>
  <p:tag name="NEWNAMES" val="True"/>
  <p:tag name="ISNEWSLIDENUMBER" val="True"/>
  <p:tag name="NEWNAMES4" val="True"/>
  <p:tag name="PREVIOUSNAME" val="C:\Users\Thangavelu Subramani\Desktop\06-02-2019\1902-122148\Draft\McKc Bio Format.pptx"/>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NAME" val="Logo"/>
</p:tagLst>
</file>

<file path=ppt/tags/tag22.xml><?xml version="1.0" encoding="utf-8"?>
<p:tagLst xmlns:a="http://schemas.openxmlformats.org/drawingml/2006/main" xmlns:r="http://schemas.openxmlformats.org/officeDocument/2006/relationships" xmlns:p="http://schemas.openxmlformats.org/presentationml/2006/main">
  <p:tag name="NAME" val="Logo"/>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NAME" val="Logo"/>
</p:tagLst>
</file>

<file path=ppt/tags/tag42.xml><?xml version="1.0" encoding="utf-8"?>
<p:tagLst xmlns:a="http://schemas.openxmlformats.org/drawingml/2006/main" xmlns:r="http://schemas.openxmlformats.org/officeDocument/2006/relationships" xmlns:p="http://schemas.openxmlformats.org/presentationml/2006/main">
  <p:tag name="NAME" val="Logo"/>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KH6bO5fcQ6GYPnvTPiZtpQ"/>
</p:tagLst>
</file>

<file path=ppt/tags/tag45.xml><?xml version="1.0" encoding="utf-8"?>
<p:tagLst xmlns:a="http://schemas.openxmlformats.org/drawingml/2006/main" xmlns:r="http://schemas.openxmlformats.org/officeDocument/2006/relationships" xmlns:p="http://schemas.openxmlformats.org/presentationml/2006/main">
  <p:tag name="RESIZE" val="Yes"/>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Firm Format - template_Blu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C75ED597-A648-42ED-A4DC-A5D09CAD6C59}" vid="{F0629F24-3C58-41B5-9C5E-254256C7B134}"/>
    </a:ext>
  </a:extLst>
</a:theme>
</file>

<file path=ppt/theme/theme2.xml><?xml version="1.0" encoding="utf-8"?>
<a:theme xmlns:a="http://schemas.openxmlformats.org/drawingml/2006/main" name="Firm Format - template_Grey">
  <a:themeElements>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C75ED597-A648-42ED-A4DC-A5D09CAD6C59}" vid="{633C688E-81B4-4E84-A874-C9E4062297AD}"/>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V_JoelWilson</Template>
  <TotalTime>0</TotalTime>
  <Words>357</Words>
  <Application>Microsoft Office PowerPoint</Application>
  <PresentationFormat>Custom</PresentationFormat>
  <Paragraphs>34</Paragraphs>
  <Slides>1</Slides>
  <Notes>1</Notes>
  <HiddenSlides>0</HiddenSlides>
  <MMClips>0</MMClips>
  <ScaleCrop>false</ScaleCrop>
  <HeadingPairs>
    <vt:vector size="8" baseType="variant">
      <vt:variant>
        <vt:lpstr>Fonts Used</vt:lpstr>
      </vt:variant>
      <vt:variant>
        <vt:i4>1</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5" baseType="lpstr">
      <vt:lpstr>Arial</vt:lpstr>
      <vt:lpstr>Firm Format - template_Blue</vt:lpstr>
      <vt:lpstr>Firm Format - template_Grey</vt:lpstr>
      <vt:lpstr>think-cell Slide</vt:lpstr>
      <vt:lpstr>Ajay Nehra</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cp:lastPrinted>2015-10-15T15:41:18Z</cp:lastPrinted>
  <dcterms:created xsi:type="dcterms:W3CDTF">2019-02-05T06:56:30Z</dcterms:created>
  <dcterms:modified xsi:type="dcterms:W3CDTF">2020-05-15T15:28:31Z</dcterms:modified>
  <cp:category/>
  <cp:contentStatus/>
  <dc:language/>
  <cp:version/>
</cp:coreProperties>
</file>